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3" r:id="rId3"/>
  </p:sldMasterIdLst>
  <p:notesMasterIdLst>
    <p:notesMasterId r:id="rId18"/>
  </p:notesMasterIdLst>
  <p:sldIdLst>
    <p:sldId id="256" r:id="rId4"/>
    <p:sldId id="302" r:id="rId5"/>
    <p:sldId id="273" r:id="rId6"/>
    <p:sldId id="274" r:id="rId7"/>
    <p:sldId id="257" r:id="rId8"/>
    <p:sldId id="258" r:id="rId9"/>
    <p:sldId id="259" r:id="rId10"/>
    <p:sldId id="260" r:id="rId11"/>
    <p:sldId id="262" r:id="rId12"/>
    <p:sldId id="263" r:id="rId13"/>
    <p:sldId id="261" r:id="rId14"/>
    <p:sldId id="264" r:id="rId15"/>
    <p:sldId id="265" r:id="rId16"/>
    <p:sldId id="303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446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8"/>
    <p:restoredTop sz="94934"/>
  </p:normalViewPr>
  <p:slideViewPr>
    <p:cSldViewPr snapToGrid="0" snapToObjects="1" showGuides="1">
      <p:cViewPr varScale="1">
        <p:scale>
          <a:sx n="60" d="100"/>
          <a:sy n="60" d="100"/>
        </p:scale>
        <p:origin x="128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08B2EB-74C8-B34F-A366-FDEDEF7ECCB2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5C3312-B28D-074E-B034-B463E402A5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964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</a:t>
            </a:r>
            <a:r>
              <a:rPr lang="en-US" dirty="0" err="1"/>
              <a:t>www.freepik.com</a:t>
            </a:r>
            <a:r>
              <a:rPr lang="en-US" dirty="0"/>
              <a:t>/vectors/background'&gt;Background vector created by </a:t>
            </a:r>
            <a:r>
              <a:rPr lang="en-US" dirty="0" err="1"/>
              <a:t>pikisuperstar</a:t>
            </a:r>
            <a:r>
              <a:rPr lang="en-US" dirty="0"/>
              <a:t> - </a:t>
            </a:r>
            <a:r>
              <a:rPr lang="en-US" dirty="0" err="1"/>
              <a:t>www.freepik.com</a:t>
            </a:r>
            <a:r>
              <a:rPr lang="en-US" dirty="0"/>
              <a:t>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80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</a:t>
            </a:r>
            <a:r>
              <a:rPr lang="en-US" dirty="0" err="1"/>
              <a:t>www.freepik.com</a:t>
            </a:r>
            <a:r>
              <a:rPr lang="en-US" dirty="0"/>
              <a:t>/vectors/people'&gt;People vector created by </a:t>
            </a:r>
            <a:r>
              <a:rPr lang="en-US" dirty="0" err="1"/>
              <a:t>pch.vector</a:t>
            </a:r>
            <a:r>
              <a:rPr lang="en-US" dirty="0"/>
              <a:t> - </a:t>
            </a:r>
            <a:r>
              <a:rPr lang="en-US" dirty="0" err="1"/>
              <a:t>www.freepik.com</a:t>
            </a:r>
            <a:r>
              <a:rPr lang="en-US" dirty="0"/>
              <a:t>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5826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</a:t>
            </a:r>
            <a:r>
              <a:rPr lang="en-US" dirty="0" err="1"/>
              <a:t>www.freepik.com</a:t>
            </a:r>
            <a:r>
              <a:rPr lang="en-US" dirty="0"/>
              <a:t>/vectors/people'&gt;People vector created by </a:t>
            </a:r>
            <a:r>
              <a:rPr lang="en-US" dirty="0" err="1"/>
              <a:t>pch.vector</a:t>
            </a:r>
            <a:r>
              <a:rPr lang="en-US" dirty="0"/>
              <a:t> - </a:t>
            </a:r>
            <a:r>
              <a:rPr lang="en-US" dirty="0" err="1"/>
              <a:t>www.freepik.com</a:t>
            </a:r>
            <a:r>
              <a:rPr lang="en-US" dirty="0"/>
              <a:t>&lt;/a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878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</a:t>
            </a:r>
            <a:r>
              <a:rPr lang="en-US" dirty="0" err="1"/>
              <a:t>www.freepik.com</a:t>
            </a:r>
            <a:r>
              <a:rPr lang="en-US" dirty="0"/>
              <a:t>/vectors/design'&gt;Design vector created by stories - </a:t>
            </a:r>
            <a:r>
              <a:rPr lang="en-US" dirty="0" err="1"/>
              <a:t>www.freepik.com</a:t>
            </a:r>
            <a:r>
              <a:rPr lang="en-US" dirty="0"/>
              <a:t>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10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</a:t>
            </a:r>
            <a:r>
              <a:rPr lang="en-US" dirty="0" err="1"/>
              <a:t>www.freepik.com</a:t>
            </a:r>
            <a:r>
              <a:rPr lang="en-US" dirty="0"/>
              <a:t>/vectors/idea'&gt;Idea vector created by stories - </a:t>
            </a:r>
            <a:r>
              <a:rPr lang="en-US" dirty="0" err="1"/>
              <a:t>www.freepik.com</a:t>
            </a:r>
            <a:r>
              <a:rPr lang="en-US" dirty="0"/>
              <a:t>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4366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5C3312-B28D-074E-B034-B463E402A50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683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743A4-9FC5-F343-9D62-E3AC97DBE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7EF977-35B0-974A-971C-B777F59271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BFFC8-9E16-9B4E-AE14-7F0501F00D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5A799E-61F9-EF48-98E2-F49358E84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100FE1-EA5A-8A40-B230-4BC069289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554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3A396-2D7A-2940-8334-6A6DD94B6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A9C4BF-1D8A-024B-80A5-BC1593F27A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056963-5C29-6648-895C-7392634F70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6AF0D-4F86-134B-AAF8-8CBB9E947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F7B202-F694-CC4C-8DC3-EE61489E7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828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B62013-4C1B-E04B-9C9E-715A981034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362BD-CFE3-A541-81A7-662641EC5E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14A501-AF01-7949-AFA1-672165848E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8D4C3-5B0C-E64B-B7C7-17E48BBB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97485-F806-1742-8F97-2338D3F1F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892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98881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817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52932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526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404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473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346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1376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2EBA6-96A5-0B4B-A9A9-80DF5F941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CB7F34-1E3C-604C-B0A1-B7026B6715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F676F-CEB0-654C-990D-32CEA48D1F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87B96-30DB-B54D-AF48-E2B2FE9FA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0B8D4-81DE-664D-8F4D-FC42BEAC4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371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877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0630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988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965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95867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84771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14635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296237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47203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42980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515E4-65A6-5C42-BF82-305E22916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E642E-DE89-7343-A96B-39119CD54F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692C6-C84E-4A40-9437-7CF7F4639F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13DA45-5C41-7642-9FC4-C90FA1C92E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A93165-C426-3C48-80F0-C2BF0BA88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6433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71799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632080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296600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611188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8217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A3CD7-841F-FD4C-83B3-60FED37AA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52128-4F9A-1D4F-986A-2C6612FE8C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2C3F9E-FC8A-0443-A7DA-F0C2FAB562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789A7C-DAA9-5D48-ACC5-57D0D3BB30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BDC5A1-FFA6-9D43-8971-30BABBF07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DFE35E-EC78-FE4B-8723-77D1E60A4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473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135FD-2D4C-3044-A770-56AF97154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B5ED37-8152-BF4D-B67C-C2132988CE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B8EA5B-4C42-DA4C-8C30-884E6FE0D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F6EAC3-20C5-5947-A4B4-4B8B835FE8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E9D557-272D-FF40-A772-F4512788F0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4E857D-A13E-974C-A4F7-AC54F0F2BC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8BDCFF-ECA8-5345-98A2-0AA62667E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9E1CF4-893A-2E44-8260-C6BF01FD1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750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86700-C416-7449-9028-AABA76626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C732D0F-F43A-4140-AB81-AA7C5B954E45}"/>
              </a:ext>
            </a:extLst>
          </p:cNvPr>
          <p:cNvSpPr/>
          <p:nvPr userDrawn="1"/>
        </p:nvSpPr>
        <p:spPr>
          <a:xfrm>
            <a:off x="11275536" y="6465033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AD166C-80C4-A046-804B-DCD054797B50}"/>
              </a:ext>
            </a:extLst>
          </p:cNvPr>
          <p:cNvSpPr txBox="1"/>
          <p:nvPr userDrawn="1"/>
        </p:nvSpPr>
        <p:spPr>
          <a:xfrm>
            <a:off x="11361828" y="6483662"/>
            <a:ext cx="21422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696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D00741-A7F9-804A-B945-6B75663BD8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E5C629-B185-C146-BDD9-E724CC0F6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5E1A3-4B42-AB49-ACE4-C2880AC70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71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74CDB-723A-8D43-83CA-8B2CCF8186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EF41BE-B4A2-8C40-9369-0CBC9C97E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A8D28D-0245-044C-B13B-74BF1BD5CD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6C8891-6681-4E4C-85FA-B896107618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3C5ACB-1D2F-8E48-8E0B-03394AB2E9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E75847-E469-A14B-837D-85583E072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757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CB7EF-290B-8745-96C0-ED338D752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631DF5-DAC8-F946-B754-B28E61ABB6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D83937-D888-9B4C-824E-79D68D9705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4A8FBE-E22D-7E42-AB0D-B37FB5CF36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3C6C558-CF51-7D43-BDF3-D999EF346A81}" type="datetimeFigureOut">
              <a:rPr lang="en-US" smtClean="0"/>
              <a:t>9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EBD7DF-9B73-1747-A25B-C46408E52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098008-1FF0-0F47-B9F1-900F962A13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C48903-C3A3-E044-AF61-984EBBE563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682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5D8687-CEF6-0645-ABA7-30581BF4B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98572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F48BD2B-3A66-1F4C-8D76-E790476E9D1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654E47-99EA-904F-AF09-CE4A96C7A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5126"/>
            <a:ext cx="11160124" cy="939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C38271-5BA7-9E48-934B-64B0A0429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520825"/>
            <a:ext cx="11160124" cy="4656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418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8" userDrawn="1">
          <p15:clr>
            <a:srgbClr val="F26B43"/>
          </p15:clr>
        </p15:guide>
        <p15:guide id="2" orient="horz" pos="822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orient="horz" pos="392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6800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0348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08/09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2050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microsoft.com/office/2007/relationships/hdphoto" Target="../media/hdphoto1.wdp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emf"/><Relationship Id="rId11" Type="http://schemas.openxmlformats.org/officeDocument/2006/relationships/image" Target="../media/image26.emf"/><Relationship Id="rId5" Type="http://schemas.openxmlformats.org/officeDocument/2006/relationships/image" Target="../media/image20.emf"/><Relationship Id="rId15" Type="http://schemas.openxmlformats.org/officeDocument/2006/relationships/image" Target="../media/image29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8.tif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A9B05B-B16E-0941-A8DE-C1D9BCA2B5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372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13">
            <a:extLst>
              <a:ext uri="{FF2B5EF4-FFF2-40B4-BE49-F238E27FC236}">
                <a16:creationId xmlns:a16="http://schemas.microsoft.com/office/drawing/2014/main" id="{4FAFAEBD-5646-0E41-96B1-40E8C7B8DF8B}"/>
              </a:ext>
            </a:extLst>
          </p:cNvPr>
          <p:cNvSpPr/>
          <p:nvPr/>
        </p:nvSpPr>
        <p:spPr>
          <a:xfrm rot="1754024" flipH="1">
            <a:off x="4315870" y="4338947"/>
            <a:ext cx="5477494" cy="3571895"/>
          </a:xfrm>
          <a:custGeom>
            <a:avLst/>
            <a:gdLst>
              <a:gd name="connsiteX0" fmla="*/ 4827964 w 5477494"/>
              <a:gd name="connsiteY0" fmla="*/ 190968 h 3571895"/>
              <a:gd name="connsiteX1" fmla="*/ 3768226 w 5477494"/>
              <a:gd name="connsiteY1" fmla="*/ 56901 h 3571895"/>
              <a:gd name="connsiteX2" fmla="*/ 2824349 w 5477494"/>
              <a:gd name="connsiteY2" fmla="*/ 422116 h 3571895"/>
              <a:gd name="connsiteX3" fmla="*/ 2676047 w 5477494"/>
              <a:gd name="connsiteY3" fmla="*/ 459100 h 3571895"/>
              <a:gd name="connsiteX4" fmla="*/ 1727536 w 5477494"/>
              <a:gd name="connsiteY4" fmla="*/ 143197 h 3571895"/>
              <a:gd name="connsiteX5" fmla="*/ 799108 w 5477494"/>
              <a:gd name="connsiteY5" fmla="*/ 78475 h 3571895"/>
              <a:gd name="connsiteX6" fmla="*/ 26704 w 5477494"/>
              <a:gd name="connsiteY6" fmla="*/ 966086 h 3571895"/>
              <a:gd name="connsiteX7" fmla="*/ 0 w 5477494"/>
              <a:gd name="connsiteY7" fmla="*/ 1093304 h 3571895"/>
              <a:gd name="connsiteX8" fmla="*/ 4428791 w 5477494"/>
              <a:gd name="connsiteY8" fmla="*/ 3571895 h 3571895"/>
              <a:gd name="connsiteX9" fmla="*/ 4500464 w 5477494"/>
              <a:gd name="connsiteY9" fmla="*/ 3533379 h 3571895"/>
              <a:gd name="connsiteX10" fmla="*/ 5475237 w 5477494"/>
              <a:gd name="connsiteY10" fmla="*/ 1711927 h 3571895"/>
              <a:gd name="connsiteX11" fmla="*/ 5357831 w 5477494"/>
              <a:gd name="connsiteY11" fmla="*/ 858217 h 3571895"/>
              <a:gd name="connsiteX12" fmla="*/ 4827964 w 5477494"/>
              <a:gd name="connsiteY12" fmla="*/ 190968 h 3571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7494" h="3571895">
                <a:moveTo>
                  <a:pt x="4827964" y="190968"/>
                </a:moveTo>
                <a:cubicBezTo>
                  <a:pt x="4515912" y="2967"/>
                  <a:pt x="4125076" y="-17066"/>
                  <a:pt x="3768226" y="56901"/>
                </a:cubicBezTo>
                <a:cubicBezTo>
                  <a:pt x="3437637" y="126246"/>
                  <a:pt x="3127131" y="272640"/>
                  <a:pt x="2824349" y="422116"/>
                </a:cubicBezTo>
                <a:cubicBezTo>
                  <a:pt x="2778005" y="445231"/>
                  <a:pt x="2727026" y="457559"/>
                  <a:pt x="2676047" y="459100"/>
                </a:cubicBezTo>
                <a:cubicBezTo>
                  <a:pt x="2339280" y="486838"/>
                  <a:pt x="2027228" y="300378"/>
                  <a:pt x="1727536" y="143197"/>
                </a:cubicBezTo>
                <a:cubicBezTo>
                  <a:pt x="1427844" y="-13985"/>
                  <a:pt x="1111158" y="-50969"/>
                  <a:pt x="799108" y="78475"/>
                </a:cubicBezTo>
                <a:cubicBezTo>
                  <a:pt x="457706" y="220246"/>
                  <a:pt x="117848" y="610117"/>
                  <a:pt x="26704" y="966086"/>
                </a:cubicBezTo>
                <a:lnTo>
                  <a:pt x="0" y="1093304"/>
                </a:lnTo>
                <a:lnTo>
                  <a:pt x="4428791" y="3571895"/>
                </a:lnTo>
                <a:lnTo>
                  <a:pt x="4500464" y="3533379"/>
                </a:lnTo>
                <a:cubicBezTo>
                  <a:pt x="5118387" y="3166623"/>
                  <a:pt x="5439706" y="2428488"/>
                  <a:pt x="5475237" y="1711927"/>
                </a:cubicBezTo>
                <a:cubicBezTo>
                  <a:pt x="5486050" y="1422220"/>
                  <a:pt x="5459788" y="1129431"/>
                  <a:pt x="5357831" y="858217"/>
                </a:cubicBezTo>
                <a:cubicBezTo>
                  <a:pt x="5255874" y="587003"/>
                  <a:pt x="5075132" y="341985"/>
                  <a:pt x="4827964" y="190968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D245BE49-2EB3-C745-92C6-5C907AAEB2F7}"/>
              </a:ext>
            </a:extLst>
          </p:cNvPr>
          <p:cNvSpPr/>
          <p:nvPr/>
        </p:nvSpPr>
        <p:spPr>
          <a:xfrm rot="19218209" flipH="1">
            <a:off x="582479" y="-526246"/>
            <a:ext cx="5329960" cy="3792497"/>
          </a:xfrm>
          <a:custGeom>
            <a:avLst/>
            <a:gdLst>
              <a:gd name="connsiteX0" fmla="*/ 2289091 w 5329960"/>
              <a:gd name="connsiteY0" fmla="*/ 427760 h 3792497"/>
              <a:gd name="connsiteX1" fmla="*/ 0 w 5329960"/>
              <a:gd name="connsiteY1" fmla="*/ 2327965 h 3792497"/>
              <a:gd name="connsiteX2" fmla="*/ 58440 w 5329960"/>
              <a:gd name="connsiteY2" fmla="*/ 2462968 h 3792497"/>
              <a:gd name="connsiteX3" fmla="*/ 874026 w 5329960"/>
              <a:gd name="connsiteY3" fmla="*/ 3252922 h 3792497"/>
              <a:gd name="connsiteX4" fmla="*/ 2125319 w 5329960"/>
              <a:gd name="connsiteY4" fmla="*/ 3653580 h 3792497"/>
              <a:gd name="connsiteX5" fmla="*/ 3257662 w 5329960"/>
              <a:gd name="connsiteY5" fmla="*/ 3792269 h 3792497"/>
              <a:gd name="connsiteX6" fmla="*/ 4352930 w 5329960"/>
              <a:gd name="connsiteY6" fmla="*/ 3516432 h 3792497"/>
              <a:gd name="connsiteX7" fmla="*/ 5327703 w 5329960"/>
              <a:gd name="connsiteY7" fmla="*/ 1694980 h 3792497"/>
              <a:gd name="connsiteX8" fmla="*/ 5210297 w 5329960"/>
              <a:gd name="connsiteY8" fmla="*/ 841270 h 3792497"/>
              <a:gd name="connsiteX9" fmla="*/ 4680429 w 5329960"/>
              <a:gd name="connsiteY9" fmla="*/ 174021 h 3792497"/>
              <a:gd name="connsiteX10" fmla="*/ 3620692 w 5329960"/>
              <a:gd name="connsiteY10" fmla="*/ 39954 h 3792497"/>
              <a:gd name="connsiteX11" fmla="*/ 2676815 w 5329960"/>
              <a:gd name="connsiteY11" fmla="*/ 405169 h 3792497"/>
              <a:gd name="connsiteX12" fmla="*/ 2528513 w 5329960"/>
              <a:gd name="connsiteY12" fmla="*/ 442153 h 3792497"/>
              <a:gd name="connsiteX13" fmla="*/ 2403360 w 5329960"/>
              <a:gd name="connsiteY13" fmla="*/ 442990 h 379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9960" h="3792497">
                <a:moveTo>
                  <a:pt x="2289091" y="427760"/>
                </a:moveTo>
                <a:lnTo>
                  <a:pt x="0" y="2327965"/>
                </a:lnTo>
                <a:lnTo>
                  <a:pt x="58440" y="2462968"/>
                </a:lnTo>
                <a:cubicBezTo>
                  <a:pt x="229769" y="2803073"/>
                  <a:pt x="534748" y="3072241"/>
                  <a:pt x="874026" y="3252922"/>
                </a:cubicBezTo>
                <a:cubicBezTo>
                  <a:pt x="1261772" y="3459416"/>
                  <a:pt x="1694318" y="3565743"/>
                  <a:pt x="2125319" y="3653580"/>
                </a:cubicBezTo>
                <a:cubicBezTo>
                  <a:pt x="2499162" y="3730629"/>
                  <a:pt x="2876095" y="3796892"/>
                  <a:pt x="3257662" y="3792269"/>
                </a:cubicBezTo>
                <a:cubicBezTo>
                  <a:pt x="3639229" y="3787647"/>
                  <a:pt x="4025431" y="3710597"/>
                  <a:pt x="4352930" y="3516432"/>
                </a:cubicBezTo>
                <a:cubicBezTo>
                  <a:pt x="4970852" y="3149676"/>
                  <a:pt x="5292172" y="2411541"/>
                  <a:pt x="5327703" y="1694980"/>
                </a:cubicBezTo>
                <a:cubicBezTo>
                  <a:pt x="5338516" y="1405273"/>
                  <a:pt x="5312254" y="1112484"/>
                  <a:pt x="5210297" y="841270"/>
                </a:cubicBezTo>
                <a:cubicBezTo>
                  <a:pt x="5108340" y="570056"/>
                  <a:pt x="4927598" y="325038"/>
                  <a:pt x="4680429" y="174021"/>
                </a:cubicBezTo>
                <a:cubicBezTo>
                  <a:pt x="4368378" y="-13980"/>
                  <a:pt x="3977542" y="-34013"/>
                  <a:pt x="3620692" y="39954"/>
                </a:cubicBezTo>
                <a:cubicBezTo>
                  <a:pt x="3290103" y="109299"/>
                  <a:pt x="2979597" y="255693"/>
                  <a:pt x="2676815" y="405169"/>
                </a:cubicBezTo>
                <a:cubicBezTo>
                  <a:pt x="2630471" y="428284"/>
                  <a:pt x="2579492" y="440612"/>
                  <a:pt x="2528513" y="442153"/>
                </a:cubicBezTo>
                <a:cubicBezTo>
                  <a:pt x="2486417" y="445620"/>
                  <a:pt x="2444707" y="445741"/>
                  <a:pt x="2403360" y="442990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3D0DFC76-F8BD-744C-98A5-B8E1AA5B838D}"/>
              </a:ext>
            </a:extLst>
          </p:cNvPr>
          <p:cNvSpPr/>
          <p:nvPr/>
        </p:nvSpPr>
        <p:spPr>
          <a:xfrm>
            <a:off x="4649821" y="2154485"/>
            <a:ext cx="7542179" cy="3852876"/>
          </a:xfrm>
          <a:custGeom>
            <a:avLst/>
            <a:gdLst>
              <a:gd name="connsiteX0" fmla="*/ 346489 w 7542179"/>
              <a:gd name="connsiteY0" fmla="*/ 0 h 3852876"/>
              <a:gd name="connsiteX1" fmla="*/ 7542179 w 7542179"/>
              <a:gd name="connsiteY1" fmla="*/ 0 h 3852876"/>
              <a:gd name="connsiteX2" fmla="*/ 7542179 w 7542179"/>
              <a:gd name="connsiteY2" fmla="*/ 3852876 h 3852876"/>
              <a:gd name="connsiteX3" fmla="*/ 346489 w 7542179"/>
              <a:gd name="connsiteY3" fmla="*/ 3852876 h 3852876"/>
              <a:gd name="connsiteX4" fmla="*/ 0 w 7542179"/>
              <a:gd name="connsiteY4" fmla="*/ 3506387 h 3852876"/>
              <a:gd name="connsiteX5" fmla="*/ 0 w 7542179"/>
              <a:gd name="connsiteY5" fmla="*/ 346489 h 3852876"/>
              <a:gd name="connsiteX6" fmla="*/ 346489 w 7542179"/>
              <a:gd name="connsiteY6" fmla="*/ 0 h 3852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42179" h="3852876">
                <a:moveTo>
                  <a:pt x="346489" y="0"/>
                </a:moveTo>
                <a:lnTo>
                  <a:pt x="7542179" y="0"/>
                </a:lnTo>
                <a:lnTo>
                  <a:pt x="7542179" y="3852876"/>
                </a:lnTo>
                <a:lnTo>
                  <a:pt x="346489" y="3852876"/>
                </a:lnTo>
                <a:cubicBezTo>
                  <a:pt x="155128" y="3852876"/>
                  <a:pt x="0" y="3697748"/>
                  <a:pt x="0" y="3506387"/>
                </a:cubicBezTo>
                <a:lnTo>
                  <a:pt x="0" y="346489"/>
                </a:lnTo>
                <a:cubicBezTo>
                  <a:pt x="0" y="155128"/>
                  <a:pt x="155128" y="0"/>
                  <a:pt x="3464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137830E-6991-1843-ACB4-C8EE04769E62}"/>
              </a:ext>
            </a:extLst>
          </p:cNvPr>
          <p:cNvSpPr/>
          <p:nvPr/>
        </p:nvSpPr>
        <p:spPr>
          <a:xfrm>
            <a:off x="1088349" y="881969"/>
            <a:ext cx="10109240" cy="5125392"/>
          </a:xfrm>
          <a:custGeom>
            <a:avLst/>
            <a:gdLst>
              <a:gd name="connsiteX0" fmla="*/ 1376264 w 10109240"/>
              <a:gd name="connsiteY0" fmla="*/ 0 h 5125392"/>
              <a:gd name="connsiteX1" fmla="*/ 9507718 w 10109240"/>
              <a:gd name="connsiteY1" fmla="*/ 0 h 5125392"/>
              <a:gd name="connsiteX2" fmla="*/ 10109240 w 10109240"/>
              <a:gd name="connsiteY2" fmla="*/ 601522 h 5125392"/>
              <a:gd name="connsiteX3" fmla="*/ 10109240 w 10109240"/>
              <a:gd name="connsiteY3" fmla="*/ 3742538 h 5125392"/>
              <a:gd name="connsiteX4" fmla="*/ 9507718 w 10109240"/>
              <a:gd name="connsiteY4" fmla="*/ 4344060 h 5125392"/>
              <a:gd name="connsiteX5" fmla="*/ 1718329 w 10109240"/>
              <a:gd name="connsiteY5" fmla="*/ 4344060 h 5125392"/>
              <a:gd name="connsiteX6" fmla="*/ 1627336 w 10109240"/>
              <a:gd name="connsiteY6" fmla="*/ 4465743 h 5125392"/>
              <a:gd name="connsiteX7" fmla="*/ 228579 w 10109240"/>
              <a:gd name="connsiteY7" fmla="*/ 5125392 h 5125392"/>
              <a:gd name="connsiteX8" fmla="*/ 43242 w 10109240"/>
              <a:gd name="connsiteY8" fmla="*/ 5116035 h 5125392"/>
              <a:gd name="connsiteX9" fmla="*/ 0 w 10109240"/>
              <a:gd name="connsiteY9" fmla="*/ 5109434 h 5125392"/>
              <a:gd name="connsiteX10" fmla="*/ 136625 w 10109240"/>
              <a:gd name="connsiteY10" fmla="*/ 5007268 h 5125392"/>
              <a:gd name="connsiteX11" fmla="*/ 749856 w 10109240"/>
              <a:gd name="connsiteY11" fmla="*/ 4017883 h 5125392"/>
              <a:gd name="connsiteX12" fmla="*/ 783041 w 10109240"/>
              <a:gd name="connsiteY12" fmla="*/ 3824865 h 5125392"/>
              <a:gd name="connsiteX13" fmla="*/ 774742 w 10109240"/>
              <a:gd name="connsiteY13" fmla="*/ 3742538 h 5125392"/>
              <a:gd name="connsiteX14" fmla="*/ 774742 w 10109240"/>
              <a:gd name="connsiteY14" fmla="*/ 3338474 h 5125392"/>
              <a:gd name="connsiteX15" fmla="*/ 774742 w 10109240"/>
              <a:gd name="connsiteY15" fmla="*/ 1584122 h 5125392"/>
              <a:gd name="connsiteX16" fmla="*/ 774742 w 10109240"/>
              <a:gd name="connsiteY16" fmla="*/ 601522 h 5125392"/>
              <a:gd name="connsiteX17" fmla="*/ 1376264 w 10109240"/>
              <a:gd name="connsiteY17" fmla="*/ 0 h 5125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109240" h="5125392">
                <a:moveTo>
                  <a:pt x="1376264" y="0"/>
                </a:moveTo>
                <a:lnTo>
                  <a:pt x="9507718" y="0"/>
                </a:lnTo>
                <a:cubicBezTo>
                  <a:pt x="9839929" y="0"/>
                  <a:pt x="10109240" y="269311"/>
                  <a:pt x="10109240" y="601522"/>
                </a:cubicBezTo>
                <a:lnTo>
                  <a:pt x="10109240" y="3742538"/>
                </a:lnTo>
                <a:cubicBezTo>
                  <a:pt x="10109240" y="4074749"/>
                  <a:pt x="9839929" y="4344060"/>
                  <a:pt x="9507718" y="4344060"/>
                </a:cubicBezTo>
                <a:lnTo>
                  <a:pt x="1718329" y="4344060"/>
                </a:lnTo>
                <a:lnTo>
                  <a:pt x="1627336" y="4465743"/>
                </a:lnTo>
                <a:cubicBezTo>
                  <a:pt x="1294863" y="4868607"/>
                  <a:pt x="791709" y="5125392"/>
                  <a:pt x="228579" y="5125392"/>
                </a:cubicBezTo>
                <a:cubicBezTo>
                  <a:pt x="166009" y="5125392"/>
                  <a:pt x="104180" y="5122222"/>
                  <a:pt x="43242" y="5116035"/>
                </a:cubicBezTo>
                <a:lnTo>
                  <a:pt x="0" y="5109434"/>
                </a:lnTo>
                <a:lnTo>
                  <a:pt x="136625" y="5007268"/>
                </a:lnTo>
                <a:cubicBezTo>
                  <a:pt x="438772" y="4757914"/>
                  <a:pt x="658751" y="4412550"/>
                  <a:pt x="749856" y="4017883"/>
                </a:cubicBezTo>
                <a:lnTo>
                  <a:pt x="783041" y="3824865"/>
                </a:lnTo>
                <a:lnTo>
                  <a:pt x="774742" y="3742538"/>
                </a:lnTo>
                <a:lnTo>
                  <a:pt x="774742" y="3338474"/>
                </a:lnTo>
                <a:lnTo>
                  <a:pt x="774742" y="1584122"/>
                </a:lnTo>
                <a:lnTo>
                  <a:pt x="774742" y="601522"/>
                </a:lnTo>
                <a:cubicBezTo>
                  <a:pt x="774742" y="269311"/>
                  <a:pt x="1044053" y="0"/>
                  <a:pt x="13762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2786B61-3152-9142-8B5E-748DA06CA3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23583" y="881969"/>
            <a:ext cx="7613514" cy="393878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F7B3F92-17D8-4A4E-8AF8-F2F4A3F58749}"/>
              </a:ext>
            </a:extLst>
          </p:cNvPr>
          <p:cNvSpPr txBox="1"/>
          <p:nvPr/>
        </p:nvSpPr>
        <p:spPr>
          <a:xfrm>
            <a:off x="5776283" y="5440632"/>
            <a:ext cx="228267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sentation Templat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EF9C9AD-3DAF-6945-938F-FCE07DBF153D}"/>
              </a:ext>
            </a:extLst>
          </p:cNvPr>
          <p:cNvCxnSpPr>
            <a:cxnSpLocks/>
          </p:cNvCxnSpPr>
          <p:nvPr/>
        </p:nvCxnSpPr>
        <p:spPr>
          <a:xfrm>
            <a:off x="8269357" y="5579131"/>
            <a:ext cx="392264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Image result for 24slides logo">
            <a:extLst>
              <a:ext uri="{FF2B5EF4-FFF2-40B4-BE49-F238E27FC236}">
                <a16:creationId xmlns:a16="http://schemas.microsoft.com/office/drawing/2014/main" id="{1162D007-0D76-6E4E-8BC7-8585F8D71B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45"/>
          <a:stretch/>
        </p:blipFill>
        <p:spPr bwMode="auto">
          <a:xfrm>
            <a:off x="3249573" y="5441779"/>
            <a:ext cx="1013777" cy="33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3C039479-BDD5-2A44-88CB-3928475B5F10}"/>
              </a:ext>
            </a:extLst>
          </p:cNvPr>
          <p:cNvSpPr>
            <a:spLocks noEditPoints="1"/>
          </p:cNvSpPr>
          <p:nvPr/>
        </p:nvSpPr>
        <p:spPr bwMode="auto">
          <a:xfrm>
            <a:off x="5111930" y="5414115"/>
            <a:ext cx="360363" cy="315913"/>
          </a:xfrm>
          <a:custGeom>
            <a:avLst/>
            <a:gdLst>
              <a:gd name="T0" fmla="*/ 94 w 96"/>
              <a:gd name="T1" fmla="*/ 0 h 84"/>
              <a:gd name="T2" fmla="*/ 2 w 96"/>
              <a:gd name="T3" fmla="*/ 0 h 84"/>
              <a:gd name="T4" fmla="*/ 0 w 96"/>
              <a:gd name="T5" fmla="*/ 2 h 84"/>
              <a:gd name="T6" fmla="*/ 0 w 96"/>
              <a:gd name="T7" fmla="*/ 66 h 84"/>
              <a:gd name="T8" fmla="*/ 2 w 96"/>
              <a:gd name="T9" fmla="*/ 68 h 84"/>
              <a:gd name="T10" fmla="*/ 28 w 96"/>
              <a:gd name="T11" fmla="*/ 68 h 84"/>
              <a:gd name="T12" fmla="*/ 28 w 96"/>
              <a:gd name="T13" fmla="*/ 82 h 84"/>
              <a:gd name="T14" fmla="*/ 29 w 96"/>
              <a:gd name="T15" fmla="*/ 84 h 84"/>
              <a:gd name="T16" fmla="*/ 30 w 96"/>
              <a:gd name="T17" fmla="*/ 84 h 84"/>
              <a:gd name="T18" fmla="*/ 31 w 96"/>
              <a:gd name="T19" fmla="*/ 83 h 84"/>
              <a:gd name="T20" fmla="*/ 47 w 96"/>
              <a:gd name="T21" fmla="*/ 68 h 84"/>
              <a:gd name="T22" fmla="*/ 94 w 96"/>
              <a:gd name="T23" fmla="*/ 68 h 84"/>
              <a:gd name="T24" fmla="*/ 96 w 96"/>
              <a:gd name="T25" fmla="*/ 66 h 84"/>
              <a:gd name="T26" fmla="*/ 96 w 96"/>
              <a:gd name="T27" fmla="*/ 2 h 84"/>
              <a:gd name="T28" fmla="*/ 94 w 96"/>
              <a:gd name="T29" fmla="*/ 0 h 84"/>
              <a:gd name="T30" fmla="*/ 50 w 96"/>
              <a:gd name="T31" fmla="*/ 56 h 84"/>
              <a:gd name="T32" fmla="*/ 46 w 96"/>
              <a:gd name="T33" fmla="*/ 52 h 84"/>
              <a:gd name="T34" fmla="*/ 50 w 96"/>
              <a:gd name="T35" fmla="*/ 48 h 84"/>
              <a:gd name="T36" fmla="*/ 54 w 96"/>
              <a:gd name="T37" fmla="*/ 52 h 84"/>
              <a:gd name="T38" fmla="*/ 50 w 96"/>
              <a:gd name="T39" fmla="*/ 56 h 84"/>
              <a:gd name="T40" fmla="*/ 52 w 96"/>
              <a:gd name="T41" fmla="*/ 40 h 84"/>
              <a:gd name="T42" fmla="*/ 52 w 96"/>
              <a:gd name="T43" fmla="*/ 42 h 84"/>
              <a:gd name="T44" fmla="*/ 50 w 96"/>
              <a:gd name="T45" fmla="*/ 44 h 84"/>
              <a:gd name="T46" fmla="*/ 48 w 96"/>
              <a:gd name="T47" fmla="*/ 42 h 84"/>
              <a:gd name="T48" fmla="*/ 48 w 96"/>
              <a:gd name="T49" fmla="*/ 38 h 84"/>
              <a:gd name="T50" fmla="*/ 50 w 96"/>
              <a:gd name="T51" fmla="*/ 36 h 84"/>
              <a:gd name="T52" fmla="*/ 60 w 96"/>
              <a:gd name="T53" fmla="*/ 26 h 84"/>
              <a:gd name="T54" fmla="*/ 50 w 96"/>
              <a:gd name="T55" fmla="*/ 16 h 84"/>
              <a:gd name="T56" fmla="*/ 40 w 96"/>
              <a:gd name="T57" fmla="*/ 26 h 84"/>
              <a:gd name="T58" fmla="*/ 38 w 96"/>
              <a:gd name="T59" fmla="*/ 28 h 84"/>
              <a:gd name="T60" fmla="*/ 36 w 96"/>
              <a:gd name="T61" fmla="*/ 26 h 84"/>
              <a:gd name="T62" fmla="*/ 50 w 96"/>
              <a:gd name="T63" fmla="*/ 12 h 84"/>
              <a:gd name="T64" fmla="*/ 64 w 96"/>
              <a:gd name="T65" fmla="*/ 26 h 84"/>
              <a:gd name="T66" fmla="*/ 52 w 96"/>
              <a:gd name="T67" fmla="*/ 4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6" h="84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82"/>
                  <a:pt x="28" y="82"/>
                  <a:pt x="28" y="82"/>
                </a:cubicBezTo>
                <a:cubicBezTo>
                  <a:pt x="28" y="83"/>
                  <a:pt x="28" y="84"/>
                  <a:pt x="29" y="84"/>
                </a:cubicBezTo>
                <a:cubicBezTo>
                  <a:pt x="29" y="84"/>
                  <a:pt x="30" y="84"/>
                  <a:pt x="30" y="84"/>
                </a:cubicBezTo>
                <a:cubicBezTo>
                  <a:pt x="31" y="84"/>
                  <a:pt x="31" y="84"/>
                  <a:pt x="31" y="83"/>
                </a:cubicBezTo>
                <a:cubicBezTo>
                  <a:pt x="47" y="68"/>
                  <a:pt x="47" y="68"/>
                  <a:pt x="47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50" y="56"/>
                </a:moveTo>
                <a:cubicBezTo>
                  <a:pt x="48" y="56"/>
                  <a:pt x="46" y="54"/>
                  <a:pt x="46" y="52"/>
                </a:cubicBezTo>
                <a:cubicBezTo>
                  <a:pt x="46" y="50"/>
                  <a:pt x="48" y="48"/>
                  <a:pt x="50" y="48"/>
                </a:cubicBezTo>
                <a:cubicBezTo>
                  <a:pt x="52" y="48"/>
                  <a:pt x="54" y="50"/>
                  <a:pt x="54" y="52"/>
                </a:cubicBezTo>
                <a:cubicBezTo>
                  <a:pt x="54" y="54"/>
                  <a:pt x="52" y="56"/>
                  <a:pt x="50" y="56"/>
                </a:cubicBezTo>
                <a:close/>
                <a:moveTo>
                  <a:pt x="52" y="40"/>
                </a:moveTo>
                <a:cubicBezTo>
                  <a:pt x="52" y="42"/>
                  <a:pt x="52" y="42"/>
                  <a:pt x="52" y="42"/>
                </a:cubicBezTo>
                <a:cubicBezTo>
                  <a:pt x="52" y="43"/>
                  <a:pt x="51" y="44"/>
                  <a:pt x="50" y="44"/>
                </a:cubicBezTo>
                <a:cubicBezTo>
                  <a:pt x="49" y="44"/>
                  <a:pt x="48" y="43"/>
                  <a:pt x="48" y="42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7"/>
                  <a:pt x="49" y="36"/>
                  <a:pt x="50" y="36"/>
                </a:cubicBezTo>
                <a:cubicBezTo>
                  <a:pt x="56" y="36"/>
                  <a:pt x="60" y="32"/>
                  <a:pt x="60" y="26"/>
                </a:cubicBezTo>
                <a:cubicBezTo>
                  <a:pt x="60" y="20"/>
                  <a:pt x="56" y="16"/>
                  <a:pt x="50" y="16"/>
                </a:cubicBezTo>
                <a:cubicBezTo>
                  <a:pt x="44" y="16"/>
                  <a:pt x="40" y="20"/>
                  <a:pt x="40" y="26"/>
                </a:cubicBezTo>
                <a:cubicBezTo>
                  <a:pt x="40" y="27"/>
                  <a:pt x="39" y="28"/>
                  <a:pt x="38" y="28"/>
                </a:cubicBezTo>
                <a:cubicBezTo>
                  <a:pt x="37" y="28"/>
                  <a:pt x="36" y="27"/>
                  <a:pt x="36" y="26"/>
                </a:cubicBezTo>
                <a:cubicBezTo>
                  <a:pt x="36" y="18"/>
                  <a:pt x="42" y="12"/>
                  <a:pt x="50" y="12"/>
                </a:cubicBezTo>
                <a:cubicBezTo>
                  <a:pt x="58" y="12"/>
                  <a:pt x="64" y="18"/>
                  <a:pt x="64" y="26"/>
                </a:cubicBezTo>
                <a:cubicBezTo>
                  <a:pt x="64" y="33"/>
                  <a:pt x="59" y="39"/>
                  <a:pt x="52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0B9E5FB-C35F-BA4F-8757-A3D87B18EA14}"/>
              </a:ext>
            </a:extLst>
          </p:cNvPr>
          <p:cNvSpPr/>
          <p:nvPr/>
        </p:nvSpPr>
        <p:spPr>
          <a:xfrm>
            <a:off x="2386900" y="545286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5843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3A9339-A57E-F844-95E3-A03F3A6020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124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reeform 36">
            <a:extLst>
              <a:ext uri="{FF2B5EF4-FFF2-40B4-BE49-F238E27FC236}">
                <a16:creationId xmlns:a16="http://schemas.microsoft.com/office/drawing/2014/main" id="{CA8F9DB5-BD87-7A4E-A955-C1FF02B45EA3}"/>
              </a:ext>
            </a:extLst>
          </p:cNvPr>
          <p:cNvSpPr/>
          <p:nvPr/>
        </p:nvSpPr>
        <p:spPr>
          <a:xfrm rot="19439292" flipH="1">
            <a:off x="2869991" y="1333446"/>
            <a:ext cx="10023655" cy="6676682"/>
          </a:xfrm>
          <a:custGeom>
            <a:avLst/>
            <a:gdLst>
              <a:gd name="connsiteX0" fmla="*/ 1334208 w 10023655"/>
              <a:gd name="connsiteY0" fmla="*/ 235934 h 6676682"/>
              <a:gd name="connsiteX1" fmla="*/ 891339 w 10023655"/>
              <a:gd name="connsiteY1" fmla="*/ 557836 h 6676682"/>
              <a:gd name="connsiteX2" fmla="*/ 846986 w 10023655"/>
              <a:gd name="connsiteY2" fmla="*/ 597609 h 6676682"/>
              <a:gd name="connsiteX3" fmla="*/ 114000 w 10023655"/>
              <a:gd name="connsiteY3" fmla="*/ 1761458 h 6676682"/>
              <a:gd name="connsiteX4" fmla="*/ 215393 w 10023655"/>
              <a:gd name="connsiteY4" fmla="*/ 3934092 h 6676682"/>
              <a:gd name="connsiteX5" fmla="*/ 315484 w 10023655"/>
              <a:gd name="connsiteY5" fmla="*/ 4227650 h 6676682"/>
              <a:gd name="connsiteX6" fmla="*/ 1238935 w 10023655"/>
              <a:gd name="connsiteY6" fmla="*/ 5498121 h 6676682"/>
              <a:gd name="connsiteX7" fmla="*/ 1417222 w 10023655"/>
              <a:gd name="connsiteY7" fmla="*/ 5640790 h 6676682"/>
              <a:gd name="connsiteX8" fmla="*/ 1927912 w 10023655"/>
              <a:gd name="connsiteY8" fmla="*/ 5961928 h 6676682"/>
              <a:gd name="connsiteX9" fmla="*/ 3620797 w 10023655"/>
              <a:gd name="connsiteY9" fmla="*/ 6563682 h 6676682"/>
              <a:gd name="connsiteX10" fmla="*/ 4137337 w 10023655"/>
              <a:gd name="connsiteY10" fmla="*/ 6676682 h 6676682"/>
              <a:gd name="connsiteX11" fmla="*/ 10023655 w 10023655"/>
              <a:gd name="connsiteY11" fmla="*/ 2398169 h 6676682"/>
              <a:gd name="connsiteX12" fmla="*/ 10018341 w 10023655"/>
              <a:gd name="connsiteY12" fmla="*/ 2330418 h 6676682"/>
              <a:gd name="connsiteX13" fmla="*/ 9834204 w 10023655"/>
              <a:gd name="connsiteY13" fmla="*/ 1564780 h 6676682"/>
              <a:gd name="connsiteX14" fmla="*/ 8868099 w 10023655"/>
              <a:gd name="connsiteY14" fmla="*/ 348190 h 6676682"/>
              <a:gd name="connsiteX15" fmla="*/ 6935888 w 10023655"/>
              <a:gd name="connsiteY15" fmla="*/ 103748 h 6676682"/>
              <a:gd name="connsiteX16" fmla="*/ 5214924 w 10023655"/>
              <a:gd name="connsiteY16" fmla="*/ 769641 h 6676682"/>
              <a:gd name="connsiteX17" fmla="*/ 4944527 w 10023655"/>
              <a:gd name="connsiteY17" fmla="*/ 837074 h 6676682"/>
              <a:gd name="connsiteX18" fmla="*/ 3215114 w 10023655"/>
              <a:gd name="connsiteY18" fmla="*/ 261090 h 6676682"/>
              <a:gd name="connsiteX19" fmla="*/ 1522317 w 10023655"/>
              <a:gd name="connsiteY19" fmla="*/ 143083 h 6676682"/>
              <a:gd name="connsiteX20" fmla="*/ 1405746 w 10023655"/>
              <a:gd name="connsiteY20" fmla="*/ 196726 h 6676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023655" h="6676682">
                <a:moveTo>
                  <a:pt x="1334208" y="235934"/>
                </a:moveTo>
                <a:lnTo>
                  <a:pt x="891339" y="557836"/>
                </a:lnTo>
                <a:lnTo>
                  <a:pt x="846986" y="597609"/>
                </a:lnTo>
                <a:cubicBezTo>
                  <a:pt x="498867" y="926017"/>
                  <a:pt x="217864" y="1355810"/>
                  <a:pt x="114000" y="1761458"/>
                </a:cubicBezTo>
                <a:cubicBezTo>
                  <a:pt x="-80699" y="2523583"/>
                  <a:pt x="-12307" y="3208266"/>
                  <a:pt x="215393" y="3934092"/>
                </a:cubicBezTo>
                <a:lnTo>
                  <a:pt x="315484" y="4227650"/>
                </a:lnTo>
                <a:lnTo>
                  <a:pt x="1238935" y="5498121"/>
                </a:lnTo>
                <a:lnTo>
                  <a:pt x="1417222" y="5640790"/>
                </a:lnTo>
                <a:cubicBezTo>
                  <a:pt x="1579530" y="5760509"/>
                  <a:pt x="1751168" y="5867804"/>
                  <a:pt x="1927912" y="5961928"/>
                </a:cubicBezTo>
                <a:cubicBezTo>
                  <a:pt x="2458143" y="6244301"/>
                  <a:pt x="3034321" y="6423944"/>
                  <a:pt x="3620797" y="6563682"/>
                </a:cubicBezTo>
                <a:lnTo>
                  <a:pt x="4137337" y="6676682"/>
                </a:lnTo>
                <a:lnTo>
                  <a:pt x="10023655" y="2398169"/>
                </a:lnTo>
                <a:lnTo>
                  <a:pt x="10018341" y="2330418"/>
                </a:lnTo>
                <a:cubicBezTo>
                  <a:pt x="9985597" y="2069118"/>
                  <a:pt x="9927152" y="1812032"/>
                  <a:pt x="9834204" y="1564780"/>
                </a:cubicBezTo>
                <a:cubicBezTo>
                  <a:pt x="9648305" y="1070278"/>
                  <a:pt x="9318759" y="623538"/>
                  <a:pt x="8868099" y="348190"/>
                </a:cubicBezTo>
                <a:cubicBezTo>
                  <a:pt x="8299138" y="5409"/>
                  <a:pt x="7586530" y="-31117"/>
                  <a:pt x="6935888" y="103748"/>
                </a:cubicBezTo>
                <a:cubicBezTo>
                  <a:pt x="6333128" y="230184"/>
                  <a:pt x="5766985" y="497102"/>
                  <a:pt x="5214924" y="769641"/>
                </a:cubicBezTo>
                <a:cubicBezTo>
                  <a:pt x="5130425" y="811786"/>
                  <a:pt x="5037477" y="834264"/>
                  <a:pt x="4944527" y="837074"/>
                </a:cubicBezTo>
                <a:cubicBezTo>
                  <a:pt x="4330501" y="887649"/>
                  <a:pt x="3761540" y="547677"/>
                  <a:pt x="3215114" y="261090"/>
                </a:cubicBezTo>
                <a:cubicBezTo>
                  <a:pt x="2668687" y="-25498"/>
                  <a:pt x="2091278" y="-92930"/>
                  <a:pt x="1522317" y="143083"/>
                </a:cubicBezTo>
                <a:cubicBezTo>
                  <a:pt x="1483412" y="159239"/>
                  <a:pt x="1444519" y="177162"/>
                  <a:pt x="1405746" y="196726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C3F37E6C-B367-7B42-9FE5-8447FDA0E6E4}"/>
              </a:ext>
            </a:extLst>
          </p:cNvPr>
          <p:cNvSpPr/>
          <p:nvPr/>
        </p:nvSpPr>
        <p:spPr>
          <a:xfrm rot="2748584" flipH="1">
            <a:off x="-1394541" y="596080"/>
            <a:ext cx="5092599" cy="3670897"/>
          </a:xfrm>
          <a:custGeom>
            <a:avLst/>
            <a:gdLst>
              <a:gd name="connsiteX0" fmla="*/ 5092599 w 5092599"/>
              <a:gd name="connsiteY0" fmla="*/ 966412 h 3670897"/>
              <a:gd name="connsiteX1" fmla="*/ 4170790 w 5092599"/>
              <a:gd name="connsiteY1" fmla="*/ 18172 h 3670897"/>
              <a:gd name="connsiteX2" fmla="*/ 4076294 w 5092599"/>
              <a:gd name="connsiteY2" fmla="*/ 20206 h 3670897"/>
              <a:gd name="connsiteX3" fmla="*/ 3804046 w 5092599"/>
              <a:gd name="connsiteY3" fmla="*/ 56901 h 3670897"/>
              <a:gd name="connsiteX4" fmla="*/ 2860169 w 5092599"/>
              <a:gd name="connsiteY4" fmla="*/ 422116 h 3670897"/>
              <a:gd name="connsiteX5" fmla="*/ 2711867 w 5092599"/>
              <a:gd name="connsiteY5" fmla="*/ 459100 h 3670897"/>
              <a:gd name="connsiteX6" fmla="*/ 1763356 w 5092599"/>
              <a:gd name="connsiteY6" fmla="*/ 143197 h 3670897"/>
              <a:gd name="connsiteX7" fmla="*/ 834927 w 5092599"/>
              <a:gd name="connsiteY7" fmla="*/ 78475 h 3670897"/>
              <a:gd name="connsiteX8" fmla="*/ 62524 w 5092599"/>
              <a:gd name="connsiteY8" fmla="*/ 966086 h 3670897"/>
              <a:gd name="connsiteX9" fmla="*/ 176840 w 5092599"/>
              <a:gd name="connsiteY9" fmla="*/ 2329864 h 3670897"/>
              <a:gd name="connsiteX10" fmla="*/ 1057379 w 5092599"/>
              <a:gd name="connsiteY10" fmla="*/ 3269869 h 3670897"/>
              <a:gd name="connsiteX11" fmla="*/ 2308673 w 5092599"/>
              <a:gd name="connsiteY11" fmla="*/ 3670527 h 3670897"/>
              <a:gd name="connsiteX12" fmla="*/ 2310571 w 5092599"/>
              <a:gd name="connsiteY12" fmla="*/ 3670897 h 367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92599" h="3670897">
                <a:moveTo>
                  <a:pt x="5092599" y="966412"/>
                </a:moveTo>
                <a:lnTo>
                  <a:pt x="4170790" y="18172"/>
                </a:lnTo>
                <a:lnTo>
                  <a:pt x="4076294" y="20206"/>
                </a:lnTo>
                <a:cubicBezTo>
                  <a:pt x="3984595" y="25792"/>
                  <a:pt x="3893258" y="38409"/>
                  <a:pt x="3804046" y="56901"/>
                </a:cubicBezTo>
                <a:cubicBezTo>
                  <a:pt x="3473457" y="126246"/>
                  <a:pt x="3162951" y="272640"/>
                  <a:pt x="2860169" y="422116"/>
                </a:cubicBezTo>
                <a:cubicBezTo>
                  <a:pt x="2813825" y="445231"/>
                  <a:pt x="2762846" y="457559"/>
                  <a:pt x="2711867" y="459100"/>
                </a:cubicBezTo>
                <a:cubicBezTo>
                  <a:pt x="2375099" y="486838"/>
                  <a:pt x="2063048" y="300378"/>
                  <a:pt x="1763356" y="143197"/>
                </a:cubicBezTo>
                <a:cubicBezTo>
                  <a:pt x="1463664" y="-13985"/>
                  <a:pt x="1146979" y="-50969"/>
                  <a:pt x="834927" y="78475"/>
                </a:cubicBezTo>
                <a:cubicBezTo>
                  <a:pt x="493526" y="220246"/>
                  <a:pt x="153668" y="610117"/>
                  <a:pt x="62524" y="966086"/>
                </a:cubicBezTo>
                <a:cubicBezTo>
                  <a:pt x="-59515" y="1443793"/>
                  <a:pt x="6911" y="1866025"/>
                  <a:pt x="176840" y="2329864"/>
                </a:cubicBezTo>
                <a:cubicBezTo>
                  <a:pt x="326686" y="2741309"/>
                  <a:pt x="669633" y="3063377"/>
                  <a:pt x="1057379" y="3269869"/>
                </a:cubicBezTo>
                <a:cubicBezTo>
                  <a:pt x="1445126" y="3476362"/>
                  <a:pt x="1877672" y="3582690"/>
                  <a:pt x="2308673" y="3670527"/>
                </a:cubicBezTo>
                <a:lnTo>
                  <a:pt x="2310571" y="3670897"/>
                </a:ln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1592FC0C-A38B-BE48-BCAB-B730B8D55E81}"/>
              </a:ext>
            </a:extLst>
          </p:cNvPr>
          <p:cNvSpPr/>
          <p:nvPr/>
        </p:nvSpPr>
        <p:spPr>
          <a:xfrm>
            <a:off x="820738" y="2051050"/>
            <a:ext cx="4056062" cy="4806950"/>
          </a:xfrm>
          <a:custGeom>
            <a:avLst/>
            <a:gdLst>
              <a:gd name="connsiteX0" fmla="*/ 2028031 w 4056062"/>
              <a:gd name="connsiteY0" fmla="*/ 0 h 4806950"/>
              <a:gd name="connsiteX1" fmla="*/ 4056062 w 4056062"/>
              <a:gd name="connsiteY1" fmla="*/ 2028031 h 4806950"/>
              <a:gd name="connsiteX2" fmla="*/ 4056062 w 4056062"/>
              <a:gd name="connsiteY2" fmla="*/ 4806950 h 4806950"/>
              <a:gd name="connsiteX3" fmla="*/ 0 w 4056062"/>
              <a:gd name="connsiteY3" fmla="*/ 4806950 h 4806950"/>
              <a:gd name="connsiteX4" fmla="*/ 0 w 4056062"/>
              <a:gd name="connsiteY4" fmla="*/ 2028031 h 4806950"/>
              <a:gd name="connsiteX5" fmla="*/ 2028031 w 4056062"/>
              <a:gd name="connsiteY5" fmla="*/ 0 h 480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6062" h="4806950">
                <a:moveTo>
                  <a:pt x="2028031" y="0"/>
                </a:moveTo>
                <a:cubicBezTo>
                  <a:pt x="3148082" y="0"/>
                  <a:pt x="4056062" y="907980"/>
                  <a:pt x="4056062" y="2028031"/>
                </a:cubicBezTo>
                <a:lnTo>
                  <a:pt x="4056062" y="4806950"/>
                </a:lnTo>
                <a:lnTo>
                  <a:pt x="0" y="4806950"/>
                </a:lnTo>
                <a:lnTo>
                  <a:pt x="0" y="2028031"/>
                </a:lnTo>
                <a:cubicBezTo>
                  <a:pt x="0" y="907980"/>
                  <a:pt x="907980" y="0"/>
                  <a:pt x="202803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FE65342-D821-7046-BBC3-538E13A125EB}"/>
              </a:ext>
            </a:extLst>
          </p:cNvPr>
          <p:cNvSpPr/>
          <p:nvPr/>
        </p:nvSpPr>
        <p:spPr>
          <a:xfrm>
            <a:off x="1090177" y="2328981"/>
            <a:ext cx="3517184" cy="3517184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74B27F0-6C62-1C40-B4C0-08123BCD875A}"/>
              </a:ext>
            </a:extLst>
          </p:cNvPr>
          <p:cNvSpPr/>
          <p:nvPr/>
        </p:nvSpPr>
        <p:spPr>
          <a:xfrm rot="19845976">
            <a:off x="6214277" y="116492"/>
            <a:ext cx="7289927" cy="6275024"/>
          </a:xfrm>
          <a:custGeom>
            <a:avLst/>
            <a:gdLst>
              <a:gd name="connsiteX0" fmla="*/ 5429501 w 7289927"/>
              <a:gd name="connsiteY0" fmla="*/ 407293 h 6275024"/>
              <a:gd name="connsiteX1" fmla="*/ 7289927 w 7289927"/>
              <a:gd name="connsiteY1" fmla="*/ 1448488 h 6275024"/>
              <a:gd name="connsiteX2" fmla="*/ 4588736 w 7289927"/>
              <a:gd name="connsiteY2" fmla="*/ 6275024 h 6275024"/>
              <a:gd name="connsiteX3" fmla="*/ 4333695 w 7289927"/>
              <a:gd name="connsiteY3" fmla="*/ 6234235 h 6275024"/>
              <a:gd name="connsiteX4" fmla="*/ 3863476 w 7289927"/>
              <a:gd name="connsiteY4" fmla="*/ 6142487 h 6275024"/>
              <a:gd name="connsiteX5" fmla="*/ 1769485 w 7289927"/>
              <a:gd name="connsiteY5" fmla="*/ 5472001 h 6275024"/>
              <a:gd name="connsiteX6" fmla="*/ 295935 w 7289927"/>
              <a:gd name="connsiteY6" fmla="*/ 3898939 h 6275024"/>
              <a:gd name="connsiteX7" fmla="*/ 104632 w 7289927"/>
              <a:gd name="connsiteY7" fmla="*/ 1616709 h 6275024"/>
              <a:gd name="connsiteX8" fmla="*/ 1397219 w 7289927"/>
              <a:gd name="connsiteY8" fmla="*/ 131326 h 6275024"/>
              <a:gd name="connsiteX9" fmla="*/ 2950909 w 7289927"/>
              <a:gd name="connsiteY9" fmla="*/ 239634 h 6275024"/>
              <a:gd name="connsiteX10" fmla="*/ 4538206 w 7289927"/>
              <a:gd name="connsiteY10" fmla="*/ 768286 h 6275024"/>
              <a:gd name="connsiteX11" fmla="*/ 4786384 w 7289927"/>
              <a:gd name="connsiteY11" fmla="*/ 706395 h 6275024"/>
              <a:gd name="connsiteX12" fmla="*/ 5169151 w 7289927"/>
              <a:gd name="connsiteY12" fmla="*/ 521689 h 6275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89927" h="6275024">
                <a:moveTo>
                  <a:pt x="5429501" y="407293"/>
                </a:moveTo>
                <a:lnTo>
                  <a:pt x="7289927" y="1448488"/>
                </a:lnTo>
                <a:lnTo>
                  <a:pt x="4588736" y="6275024"/>
                </a:lnTo>
                <a:lnTo>
                  <a:pt x="4333695" y="6234235"/>
                </a:lnTo>
                <a:cubicBezTo>
                  <a:pt x="4176606" y="6205828"/>
                  <a:pt x="4019879" y="6174721"/>
                  <a:pt x="3863476" y="6142487"/>
                </a:cubicBezTo>
                <a:cubicBezTo>
                  <a:pt x="3142212" y="5995495"/>
                  <a:pt x="2418364" y="5817560"/>
                  <a:pt x="1769485" y="5472001"/>
                </a:cubicBezTo>
                <a:cubicBezTo>
                  <a:pt x="1120606" y="5126444"/>
                  <a:pt x="546697" y="4587476"/>
                  <a:pt x="295935" y="3898939"/>
                </a:cubicBezTo>
                <a:cubicBezTo>
                  <a:pt x="11567" y="3122722"/>
                  <a:pt x="-99596" y="2416134"/>
                  <a:pt x="104632" y="1616709"/>
                </a:cubicBezTo>
                <a:cubicBezTo>
                  <a:pt x="257158" y="1021007"/>
                  <a:pt x="825897" y="368574"/>
                  <a:pt x="1397219" y="131326"/>
                </a:cubicBezTo>
                <a:cubicBezTo>
                  <a:pt x="1919425" y="-85294"/>
                  <a:pt x="2449386" y="-23403"/>
                  <a:pt x="2950909" y="239634"/>
                </a:cubicBezTo>
                <a:cubicBezTo>
                  <a:pt x="3452433" y="502672"/>
                  <a:pt x="3974639" y="814705"/>
                  <a:pt x="4538206" y="768286"/>
                </a:cubicBezTo>
                <a:cubicBezTo>
                  <a:pt x="4623517" y="765708"/>
                  <a:pt x="4708828" y="745077"/>
                  <a:pt x="4786384" y="706395"/>
                </a:cubicBezTo>
                <a:cubicBezTo>
                  <a:pt x="4913057" y="643859"/>
                  <a:pt x="5040538" y="581646"/>
                  <a:pt x="5169151" y="521689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E0D302-6887-744A-9793-F603D65B9413}"/>
              </a:ext>
            </a:extLst>
          </p:cNvPr>
          <p:cNvSpPr/>
          <p:nvPr/>
        </p:nvSpPr>
        <p:spPr>
          <a:xfrm>
            <a:off x="6912727" y="1774983"/>
            <a:ext cx="4763335" cy="110799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1D777FA-10A6-1140-838A-2F7ED6AE4D0C}"/>
              </a:ext>
            </a:extLst>
          </p:cNvPr>
          <p:cNvSpPr/>
          <p:nvPr/>
        </p:nvSpPr>
        <p:spPr>
          <a:xfrm>
            <a:off x="3838782" y="4906337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52A76C0-B6B1-9641-9FED-FF24ECEC2BDB}"/>
              </a:ext>
            </a:extLst>
          </p:cNvPr>
          <p:cNvSpPr/>
          <p:nvPr/>
        </p:nvSpPr>
        <p:spPr>
          <a:xfrm>
            <a:off x="6938271" y="3278222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2666A89-BF95-B944-AEA2-07F3E16A3815}"/>
              </a:ext>
            </a:extLst>
          </p:cNvPr>
          <p:cNvSpPr/>
          <p:nvPr/>
        </p:nvSpPr>
        <p:spPr>
          <a:xfrm>
            <a:off x="7753184" y="3278222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C55D18-F4B2-1544-9D8E-23CE0A2D9289}"/>
              </a:ext>
            </a:extLst>
          </p:cNvPr>
          <p:cNvSpPr/>
          <p:nvPr/>
        </p:nvSpPr>
        <p:spPr>
          <a:xfrm>
            <a:off x="8568097" y="3278222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A9FC5CC-EE84-5D4C-9103-ADA05664C304}"/>
              </a:ext>
            </a:extLst>
          </p:cNvPr>
          <p:cNvSpPr/>
          <p:nvPr/>
        </p:nvSpPr>
        <p:spPr>
          <a:xfrm>
            <a:off x="9383010" y="3278222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9362DA9-6450-AD44-A7F8-7E0A66EBBFFE}"/>
              </a:ext>
            </a:extLst>
          </p:cNvPr>
          <p:cNvSpPr/>
          <p:nvPr/>
        </p:nvSpPr>
        <p:spPr>
          <a:xfrm>
            <a:off x="10197924" y="3278222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6945330-389D-CA46-941C-DD0314E3B7F0}"/>
              </a:ext>
            </a:extLst>
          </p:cNvPr>
          <p:cNvSpPr/>
          <p:nvPr/>
        </p:nvSpPr>
        <p:spPr>
          <a:xfrm>
            <a:off x="6938271" y="4192578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50B0319-7273-9145-89CF-79A0953981AC}"/>
              </a:ext>
            </a:extLst>
          </p:cNvPr>
          <p:cNvSpPr/>
          <p:nvPr/>
        </p:nvSpPr>
        <p:spPr>
          <a:xfrm>
            <a:off x="7753184" y="4192578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3A3E330-4168-9549-A5B8-AE8B1A4746FF}"/>
              </a:ext>
            </a:extLst>
          </p:cNvPr>
          <p:cNvSpPr/>
          <p:nvPr/>
        </p:nvSpPr>
        <p:spPr>
          <a:xfrm>
            <a:off x="8568097" y="4192578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55E3999-CA09-EE45-AC97-7E11311FDCD1}"/>
              </a:ext>
            </a:extLst>
          </p:cNvPr>
          <p:cNvSpPr/>
          <p:nvPr/>
        </p:nvSpPr>
        <p:spPr>
          <a:xfrm>
            <a:off x="9383010" y="4192578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1C9FE47-AF22-8B41-B006-652AB7F31144}"/>
              </a:ext>
            </a:extLst>
          </p:cNvPr>
          <p:cNvSpPr/>
          <p:nvPr/>
        </p:nvSpPr>
        <p:spPr>
          <a:xfrm>
            <a:off x="10197924" y="4192578"/>
            <a:ext cx="674849" cy="67484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ECEE360-BEDA-5E4C-81A1-041422F299A5}"/>
              </a:ext>
            </a:extLst>
          </p:cNvPr>
          <p:cNvSpPr/>
          <p:nvPr/>
        </p:nvSpPr>
        <p:spPr>
          <a:xfrm>
            <a:off x="8747713" y="3402738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</a:t>
            </a:r>
            <a:endParaRPr lang="en-US" sz="28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B9A8B7-1471-F74C-9AB2-E4764F0A5AAF}"/>
              </a:ext>
            </a:extLst>
          </p:cNvPr>
          <p:cNvSpPr/>
          <p:nvPr/>
        </p:nvSpPr>
        <p:spPr>
          <a:xfrm>
            <a:off x="10377540" y="3402738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endParaRPr lang="en-US" sz="28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A902FD8-2829-D447-B95E-FFF5917F76F6}"/>
              </a:ext>
            </a:extLst>
          </p:cNvPr>
          <p:cNvSpPr/>
          <p:nvPr/>
        </p:nvSpPr>
        <p:spPr>
          <a:xfrm>
            <a:off x="10377540" y="431455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endParaRPr lang="en-US" sz="28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509A0B4-7131-4D47-9D4D-B97C34376E96}"/>
              </a:ext>
            </a:extLst>
          </p:cNvPr>
          <p:cNvSpPr/>
          <p:nvPr/>
        </p:nvSpPr>
        <p:spPr>
          <a:xfrm>
            <a:off x="9562626" y="431455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</a:t>
            </a:r>
            <a:endParaRPr lang="en-US" sz="28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9845CC-A81B-8A46-8FCC-67977B59884F}"/>
              </a:ext>
            </a:extLst>
          </p:cNvPr>
          <p:cNvSpPr/>
          <p:nvPr/>
        </p:nvSpPr>
        <p:spPr>
          <a:xfrm>
            <a:off x="7117887" y="431455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endParaRPr lang="en-US" sz="28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E89B0EB-F9A0-6042-B75E-6139310086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2452" y="720421"/>
            <a:ext cx="5635734" cy="5635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2368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69CDF-62E1-914C-A068-BF9636C458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303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 33">
            <a:extLst>
              <a:ext uri="{FF2B5EF4-FFF2-40B4-BE49-F238E27FC236}">
                <a16:creationId xmlns:a16="http://schemas.microsoft.com/office/drawing/2014/main" id="{EA22AACD-AA20-E149-A89B-6A81AD69CDAB}"/>
              </a:ext>
            </a:extLst>
          </p:cNvPr>
          <p:cNvSpPr/>
          <p:nvPr/>
        </p:nvSpPr>
        <p:spPr>
          <a:xfrm rot="1754024" flipH="1">
            <a:off x="3400107" y="4339071"/>
            <a:ext cx="5477494" cy="3569942"/>
          </a:xfrm>
          <a:custGeom>
            <a:avLst/>
            <a:gdLst>
              <a:gd name="connsiteX0" fmla="*/ 4827964 w 5477494"/>
              <a:gd name="connsiteY0" fmla="*/ 190968 h 3569942"/>
              <a:gd name="connsiteX1" fmla="*/ 3768226 w 5477494"/>
              <a:gd name="connsiteY1" fmla="*/ 56901 h 3569942"/>
              <a:gd name="connsiteX2" fmla="*/ 2824349 w 5477494"/>
              <a:gd name="connsiteY2" fmla="*/ 422116 h 3569942"/>
              <a:gd name="connsiteX3" fmla="*/ 2676047 w 5477494"/>
              <a:gd name="connsiteY3" fmla="*/ 459100 h 3569942"/>
              <a:gd name="connsiteX4" fmla="*/ 1727536 w 5477494"/>
              <a:gd name="connsiteY4" fmla="*/ 143197 h 3569942"/>
              <a:gd name="connsiteX5" fmla="*/ 799108 w 5477494"/>
              <a:gd name="connsiteY5" fmla="*/ 78475 h 3569942"/>
              <a:gd name="connsiteX6" fmla="*/ 26704 w 5477494"/>
              <a:gd name="connsiteY6" fmla="*/ 966086 h 3569942"/>
              <a:gd name="connsiteX7" fmla="*/ 0 w 5477494"/>
              <a:gd name="connsiteY7" fmla="*/ 1093303 h 3569942"/>
              <a:gd name="connsiteX8" fmla="*/ 4425304 w 5477494"/>
              <a:gd name="connsiteY8" fmla="*/ 3569942 h 3569942"/>
              <a:gd name="connsiteX9" fmla="*/ 4500464 w 5477494"/>
              <a:gd name="connsiteY9" fmla="*/ 3533379 h 3569942"/>
              <a:gd name="connsiteX10" fmla="*/ 5475237 w 5477494"/>
              <a:gd name="connsiteY10" fmla="*/ 1711926 h 3569942"/>
              <a:gd name="connsiteX11" fmla="*/ 5357832 w 5477494"/>
              <a:gd name="connsiteY11" fmla="*/ 858217 h 3569942"/>
              <a:gd name="connsiteX12" fmla="*/ 4827964 w 5477494"/>
              <a:gd name="connsiteY12" fmla="*/ 190968 h 3569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7494" h="3569942">
                <a:moveTo>
                  <a:pt x="4827964" y="190968"/>
                </a:moveTo>
                <a:cubicBezTo>
                  <a:pt x="4515912" y="2967"/>
                  <a:pt x="4125076" y="-17067"/>
                  <a:pt x="3768226" y="56901"/>
                </a:cubicBezTo>
                <a:cubicBezTo>
                  <a:pt x="3437637" y="126246"/>
                  <a:pt x="3127131" y="272640"/>
                  <a:pt x="2824349" y="422116"/>
                </a:cubicBezTo>
                <a:cubicBezTo>
                  <a:pt x="2778005" y="445231"/>
                  <a:pt x="2727026" y="457559"/>
                  <a:pt x="2676047" y="459100"/>
                </a:cubicBezTo>
                <a:cubicBezTo>
                  <a:pt x="2339280" y="486838"/>
                  <a:pt x="2027228" y="300378"/>
                  <a:pt x="1727536" y="143197"/>
                </a:cubicBezTo>
                <a:cubicBezTo>
                  <a:pt x="1427844" y="-13985"/>
                  <a:pt x="1111158" y="-50969"/>
                  <a:pt x="799108" y="78475"/>
                </a:cubicBezTo>
                <a:cubicBezTo>
                  <a:pt x="457706" y="220246"/>
                  <a:pt x="117848" y="610117"/>
                  <a:pt x="26704" y="966086"/>
                </a:cubicBezTo>
                <a:lnTo>
                  <a:pt x="0" y="1093303"/>
                </a:lnTo>
                <a:lnTo>
                  <a:pt x="4425304" y="3569942"/>
                </a:lnTo>
                <a:lnTo>
                  <a:pt x="4500464" y="3533379"/>
                </a:lnTo>
                <a:cubicBezTo>
                  <a:pt x="5118386" y="3166623"/>
                  <a:pt x="5439706" y="2428488"/>
                  <a:pt x="5475237" y="1711926"/>
                </a:cubicBezTo>
                <a:cubicBezTo>
                  <a:pt x="5486050" y="1422220"/>
                  <a:pt x="5459788" y="1129431"/>
                  <a:pt x="5357832" y="858217"/>
                </a:cubicBezTo>
                <a:cubicBezTo>
                  <a:pt x="5255874" y="587003"/>
                  <a:pt x="5075132" y="341985"/>
                  <a:pt x="4827964" y="190968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511FD092-6F8D-7449-B007-ECC9396309B6}"/>
              </a:ext>
            </a:extLst>
          </p:cNvPr>
          <p:cNvSpPr/>
          <p:nvPr/>
        </p:nvSpPr>
        <p:spPr>
          <a:xfrm rot="13592941" flipH="1">
            <a:off x="2093256" y="-1717314"/>
            <a:ext cx="5079646" cy="4220014"/>
          </a:xfrm>
          <a:custGeom>
            <a:avLst/>
            <a:gdLst>
              <a:gd name="connsiteX0" fmla="*/ 0 w 5079646"/>
              <a:gd name="connsiteY0" fmla="*/ 0 h 4220014"/>
              <a:gd name="connsiteX1" fmla="*/ 3997789 w 5079646"/>
              <a:gd name="connsiteY1" fmla="*/ 4220014 h 4220014"/>
              <a:gd name="connsiteX2" fmla="*/ 4027512 w 5079646"/>
              <a:gd name="connsiteY2" fmla="*/ 4200702 h 4220014"/>
              <a:gd name="connsiteX3" fmla="*/ 5076899 w 5079646"/>
              <a:gd name="connsiteY3" fmla="*/ 2073137 h 4220014"/>
              <a:gd name="connsiteX4" fmla="*/ 4934036 w 5079646"/>
              <a:gd name="connsiteY4" fmla="*/ 1034307 h 4220014"/>
              <a:gd name="connsiteX5" fmla="*/ 4289270 w 5079646"/>
              <a:gd name="connsiteY5" fmla="*/ 222370 h 4220014"/>
              <a:gd name="connsiteX6" fmla="*/ 2999735 w 5079646"/>
              <a:gd name="connsiteY6" fmla="*/ 59232 h 4220014"/>
              <a:gd name="connsiteX7" fmla="*/ 1851185 w 5079646"/>
              <a:gd name="connsiteY7" fmla="*/ 503641 h 4220014"/>
              <a:gd name="connsiteX8" fmla="*/ 1670725 w 5079646"/>
              <a:gd name="connsiteY8" fmla="*/ 548645 h 4220014"/>
              <a:gd name="connsiteX9" fmla="*/ 516537 w 5079646"/>
              <a:gd name="connsiteY9" fmla="*/ 164240 h 4220014"/>
              <a:gd name="connsiteX10" fmla="*/ 98938 w 5079646"/>
              <a:gd name="connsiteY10" fmla="*/ 13738 h 422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079646" h="4220014">
                <a:moveTo>
                  <a:pt x="0" y="0"/>
                </a:moveTo>
                <a:lnTo>
                  <a:pt x="3997789" y="4220014"/>
                </a:lnTo>
                <a:lnTo>
                  <a:pt x="4027512" y="4200702"/>
                </a:lnTo>
                <a:cubicBezTo>
                  <a:pt x="4690185" y="3731103"/>
                  <a:pt x="5036366" y="2890584"/>
                  <a:pt x="5076899" y="2073137"/>
                </a:cubicBezTo>
                <a:cubicBezTo>
                  <a:pt x="5090058" y="1720611"/>
                  <a:pt x="5058101" y="1364333"/>
                  <a:pt x="4934036" y="1034307"/>
                </a:cubicBezTo>
                <a:cubicBezTo>
                  <a:pt x="4809970" y="704283"/>
                  <a:pt x="4590034" y="406134"/>
                  <a:pt x="4289270" y="222370"/>
                </a:cubicBezTo>
                <a:cubicBezTo>
                  <a:pt x="3909552" y="-6398"/>
                  <a:pt x="3433966" y="-30775"/>
                  <a:pt x="2999735" y="59232"/>
                </a:cubicBezTo>
                <a:cubicBezTo>
                  <a:pt x="2597460" y="143614"/>
                  <a:pt x="2219624" y="321752"/>
                  <a:pt x="1851185" y="503641"/>
                </a:cubicBezTo>
                <a:cubicBezTo>
                  <a:pt x="1794792" y="531768"/>
                  <a:pt x="1732759" y="546770"/>
                  <a:pt x="1670725" y="548645"/>
                </a:cubicBezTo>
                <a:cubicBezTo>
                  <a:pt x="1260932" y="582398"/>
                  <a:pt x="881215" y="355505"/>
                  <a:pt x="516537" y="164240"/>
                </a:cubicBezTo>
                <a:cubicBezTo>
                  <a:pt x="379782" y="92516"/>
                  <a:pt x="240120" y="41359"/>
                  <a:pt x="98938" y="13738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D28471DC-E3E5-394E-A441-CFB79CC7D8EA}"/>
              </a:ext>
            </a:extLst>
          </p:cNvPr>
          <p:cNvSpPr/>
          <p:nvPr/>
        </p:nvSpPr>
        <p:spPr>
          <a:xfrm rot="10280397" flipH="1">
            <a:off x="-335373" y="1409646"/>
            <a:ext cx="5708314" cy="4079478"/>
          </a:xfrm>
          <a:custGeom>
            <a:avLst/>
            <a:gdLst>
              <a:gd name="connsiteX0" fmla="*/ 3627425 w 5708314"/>
              <a:gd name="connsiteY0" fmla="*/ 4038420 h 4079478"/>
              <a:gd name="connsiteX1" fmla="*/ 4471956 w 5708314"/>
              <a:gd name="connsiteY1" fmla="*/ 3783844 h 4079478"/>
              <a:gd name="connsiteX2" fmla="*/ 5705457 w 5708314"/>
              <a:gd name="connsiteY2" fmla="*/ 1833277 h 4079478"/>
              <a:gd name="connsiteX3" fmla="*/ 5556891 w 5708314"/>
              <a:gd name="connsiteY3" fmla="*/ 919052 h 4079478"/>
              <a:gd name="connsiteX4" fmla="*/ 4886382 w 5708314"/>
              <a:gd name="connsiteY4" fmla="*/ 204504 h 4079478"/>
              <a:gd name="connsiteX5" fmla="*/ 3545365 w 5708314"/>
              <a:gd name="connsiteY5" fmla="*/ 60935 h 4079478"/>
              <a:gd name="connsiteX6" fmla="*/ 2350960 w 5708314"/>
              <a:gd name="connsiteY6" fmla="*/ 452038 h 4079478"/>
              <a:gd name="connsiteX7" fmla="*/ 2163295 w 5708314"/>
              <a:gd name="connsiteY7" fmla="*/ 491643 h 4079478"/>
              <a:gd name="connsiteX8" fmla="*/ 963026 w 5708314"/>
              <a:gd name="connsiteY8" fmla="*/ 153347 h 4079478"/>
              <a:gd name="connsiteX9" fmla="*/ 85000 w 5708314"/>
              <a:gd name="connsiteY9" fmla="*/ 12717 h 4079478"/>
              <a:gd name="connsiteX10" fmla="*/ 0 w 5708314"/>
              <a:gd name="connsiteY10" fmla="*/ 28510 h 4079478"/>
              <a:gd name="connsiteX11" fmla="*/ 556242 w 5708314"/>
              <a:gd name="connsiteY11" fmla="*/ 3680597 h 4079478"/>
              <a:gd name="connsiteX12" fmla="*/ 840849 w 5708314"/>
              <a:gd name="connsiteY12" fmla="*/ 3763835 h 4079478"/>
              <a:gd name="connsiteX13" fmla="*/ 1653083 w 5708314"/>
              <a:gd name="connsiteY13" fmla="*/ 3930714 h 4079478"/>
              <a:gd name="connsiteX14" fmla="*/ 3085978 w 5708314"/>
              <a:gd name="connsiteY14" fmla="*/ 4079234 h 4079478"/>
              <a:gd name="connsiteX15" fmla="*/ 3627425 w 5708314"/>
              <a:gd name="connsiteY15" fmla="*/ 4038420 h 407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08314" h="4079478">
                <a:moveTo>
                  <a:pt x="3627425" y="4038420"/>
                </a:moveTo>
                <a:cubicBezTo>
                  <a:pt x="3924908" y="3994763"/>
                  <a:pt x="4212941" y="3913799"/>
                  <a:pt x="4471956" y="3783844"/>
                </a:cubicBezTo>
                <a:cubicBezTo>
                  <a:pt x="5253891" y="3391090"/>
                  <a:pt x="5660496" y="2600633"/>
                  <a:pt x="5705457" y="1833277"/>
                </a:cubicBezTo>
                <a:cubicBezTo>
                  <a:pt x="5719142" y="1523035"/>
                  <a:pt x="5685909" y="1209492"/>
                  <a:pt x="5556891" y="919052"/>
                </a:cubicBezTo>
                <a:cubicBezTo>
                  <a:pt x="5427871" y="628613"/>
                  <a:pt x="5199155" y="366226"/>
                  <a:pt x="4886382" y="204504"/>
                </a:cubicBezTo>
                <a:cubicBezTo>
                  <a:pt x="4491505" y="3177"/>
                  <a:pt x="3996932" y="-18276"/>
                  <a:pt x="3545365" y="60935"/>
                </a:cubicBezTo>
                <a:cubicBezTo>
                  <a:pt x="3127029" y="135195"/>
                  <a:pt x="2734108" y="291966"/>
                  <a:pt x="2350960" y="452038"/>
                </a:cubicBezTo>
                <a:cubicBezTo>
                  <a:pt x="2292315" y="476791"/>
                  <a:pt x="2227805" y="489993"/>
                  <a:pt x="2163295" y="491643"/>
                </a:cubicBezTo>
                <a:cubicBezTo>
                  <a:pt x="1737141" y="521348"/>
                  <a:pt x="1342264" y="321671"/>
                  <a:pt x="963026" y="153347"/>
                </a:cubicBezTo>
                <a:cubicBezTo>
                  <a:pt x="678598" y="27105"/>
                  <a:pt x="382074" y="-26734"/>
                  <a:pt x="85000" y="12717"/>
                </a:cubicBezTo>
                <a:lnTo>
                  <a:pt x="0" y="28510"/>
                </a:lnTo>
                <a:lnTo>
                  <a:pt x="556242" y="3680597"/>
                </a:lnTo>
                <a:lnTo>
                  <a:pt x="840849" y="3763835"/>
                </a:lnTo>
                <a:cubicBezTo>
                  <a:pt x="1107195" y="3831700"/>
                  <a:pt x="1380383" y="3883682"/>
                  <a:pt x="1653083" y="3930714"/>
                </a:cubicBezTo>
                <a:cubicBezTo>
                  <a:pt x="2126153" y="4013225"/>
                  <a:pt x="2603133" y="4084185"/>
                  <a:pt x="3085978" y="4079234"/>
                </a:cubicBezTo>
                <a:cubicBezTo>
                  <a:pt x="3267044" y="4077377"/>
                  <a:pt x="3448936" y="4064614"/>
                  <a:pt x="3627425" y="4038420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6621602-415D-FD4A-9B4A-DF0B0C30BDC7}"/>
              </a:ext>
            </a:extLst>
          </p:cNvPr>
          <p:cNvSpPr/>
          <p:nvPr/>
        </p:nvSpPr>
        <p:spPr>
          <a:xfrm>
            <a:off x="4187825" y="1520825"/>
            <a:ext cx="3816350" cy="3816350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6BB2B3-D7ED-2442-B9B9-1618C258F1B2}"/>
              </a:ext>
            </a:extLst>
          </p:cNvPr>
          <p:cNvSpPr/>
          <p:nvPr/>
        </p:nvSpPr>
        <p:spPr>
          <a:xfrm>
            <a:off x="829316" y="2136338"/>
            <a:ext cx="2828283" cy="258532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0E54BA4-5B5C-8D41-A2EC-EAD174D4F4F9}"/>
              </a:ext>
            </a:extLst>
          </p:cNvPr>
          <p:cNvSpPr/>
          <p:nvPr/>
        </p:nvSpPr>
        <p:spPr>
          <a:xfrm>
            <a:off x="7542225" y="3470752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8452A1C-80A1-5249-ABEC-4C5B59172424}"/>
              </a:ext>
            </a:extLst>
          </p:cNvPr>
          <p:cNvSpPr/>
          <p:nvPr/>
        </p:nvSpPr>
        <p:spPr>
          <a:xfrm>
            <a:off x="6961840" y="4317801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6512183-2BF7-784D-8326-2397EBB3F98C}"/>
              </a:ext>
            </a:extLst>
          </p:cNvPr>
          <p:cNvSpPr/>
          <p:nvPr/>
        </p:nvSpPr>
        <p:spPr>
          <a:xfrm>
            <a:off x="7542225" y="2460493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215F908-2F1C-A84A-8CF5-6FAE0EEC0A41}"/>
              </a:ext>
            </a:extLst>
          </p:cNvPr>
          <p:cNvSpPr/>
          <p:nvPr/>
        </p:nvSpPr>
        <p:spPr>
          <a:xfrm>
            <a:off x="6961840" y="1613443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AA1B52-174E-2F41-944D-CACFF444FA9E}"/>
              </a:ext>
            </a:extLst>
          </p:cNvPr>
          <p:cNvSpPr/>
          <p:nvPr/>
        </p:nvSpPr>
        <p:spPr>
          <a:xfrm flipH="1">
            <a:off x="7127873" y="1713738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F2DFCD-D12B-CF4B-83DD-D79F5CBFB604}"/>
              </a:ext>
            </a:extLst>
          </p:cNvPr>
          <p:cNvSpPr/>
          <p:nvPr/>
        </p:nvSpPr>
        <p:spPr>
          <a:xfrm>
            <a:off x="7975599" y="1892155"/>
            <a:ext cx="302845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781F52-EC08-944C-91AF-E03AA353E45D}"/>
              </a:ext>
            </a:extLst>
          </p:cNvPr>
          <p:cNvSpPr/>
          <p:nvPr/>
        </p:nvSpPr>
        <p:spPr>
          <a:xfrm flipH="1">
            <a:off x="7715974" y="2624980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b</a:t>
            </a:r>
            <a:endParaRPr lang="en-US" sz="32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7EE3C4-16EA-BE44-8964-7FAB8229B861}"/>
              </a:ext>
            </a:extLst>
          </p:cNvPr>
          <p:cNvSpPr/>
          <p:nvPr/>
        </p:nvSpPr>
        <p:spPr>
          <a:xfrm>
            <a:off x="8552125" y="2748091"/>
            <a:ext cx="302845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329C8DB-ACA8-B748-9912-00131C074916}"/>
              </a:ext>
            </a:extLst>
          </p:cNvPr>
          <p:cNvSpPr/>
          <p:nvPr/>
        </p:nvSpPr>
        <p:spPr>
          <a:xfrm flipH="1">
            <a:off x="7715974" y="3599837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c</a:t>
            </a:r>
            <a:endParaRPr lang="en-US" sz="32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85168A-DE9A-B449-B274-818B8E789429}"/>
              </a:ext>
            </a:extLst>
          </p:cNvPr>
          <p:cNvSpPr/>
          <p:nvPr/>
        </p:nvSpPr>
        <p:spPr>
          <a:xfrm>
            <a:off x="8552125" y="3722948"/>
            <a:ext cx="302845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0EC4963-E6CB-3D48-9F30-1C66C461B0F6}"/>
              </a:ext>
            </a:extLst>
          </p:cNvPr>
          <p:cNvSpPr/>
          <p:nvPr/>
        </p:nvSpPr>
        <p:spPr>
          <a:xfrm flipH="1">
            <a:off x="7127873" y="4463314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d</a:t>
            </a:r>
            <a:endParaRPr lang="en-US" sz="32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658FA19-C4E1-C048-8334-E2934DCE7213}"/>
              </a:ext>
            </a:extLst>
          </p:cNvPr>
          <p:cNvSpPr/>
          <p:nvPr/>
        </p:nvSpPr>
        <p:spPr>
          <a:xfrm>
            <a:off x="7975599" y="4641731"/>
            <a:ext cx="302845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BF5B2AB5-C7B4-BC48-9C69-94865E6C58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83358" y="746584"/>
            <a:ext cx="5108270" cy="5108270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92AE77A0-70AC-8F47-BF97-F719FB874017}"/>
              </a:ext>
            </a:extLst>
          </p:cNvPr>
          <p:cNvSpPr/>
          <p:nvPr/>
        </p:nvSpPr>
        <p:spPr>
          <a:xfrm>
            <a:off x="3642086" y="1270718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A3F0000-8AEA-8240-8EE6-F7078B7178C1}"/>
              </a:ext>
            </a:extLst>
          </p:cNvPr>
          <p:cNvSpPr/>
          <p:nvPr/>
        </p:nvSpPr>
        <p:spPr>
          <a:xfrm rot="19501232" flipH="1">
            <a:off x="11186943" y="4197246"/>
            <a:ext cx="1497653" cy="1674806"/>
          </a:xfrm>
          <a:custGeom>
            <a:avLst/>
            <a:gdLst>
              <a:gd name="connsiteX0" fmla="*/ 0 w 1497653"/>
              <a:gd name="connsiteY0" fmla="*/ 214108 h 1674806"/>
              <a:gd name="connsiteX1" fmla="*/ 1022012 w 1497653"/>
              <a:gd name="connsiteY1" fmla="*/ 1674806 h 1674806"/>
              <a:gd name="connsiteX2" fmla="*/ 1091104 w 1497653"/>
              <a:gd name="connsiteY2" fmla="*/ 1630523 h 1674806"/>
              <a:gd name="connsiteX3" fmla="*/ 1496445 w 1497653"/>
              <a:gd name="connsiteY3" fmla="*/ 821979 h 1674806"/>
              <a:gd name="connsiteX4" fmla="*/ 1433574 w 1497653"/>
              <a:gd name="connsiteY4" fmla="*/ 407973 h 1674806"/>
              <a:gd name="connsiteX5" fmla="*/ 1149828 w 1497653"/>
              <a:gd name="connsiteY5" fmla="*/ 84391 h 1674806"/>
              <a:gd name="connsiteX6" fmla="*/ 582333 w 1497653"/>
              <a:gd name="connsiteY6" fmla="*/ 19376 h 1674806"/>
              <a:gd name="connsiteX7" fmla="*/ 76883 w 1497653"/>
              <a:gd name="connsiteY7" fmla="*/ 196487 h 1674806"/>
              <a:gd name="connsiteX8" fmla="*/ 38105 w 1497653"/>
              <a:gd name="connsiteY8" fmla="*/ 209378 h 167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7653" h="1674806">
                <a:moveTo>
                  <a:pt x="0" y="214108"/>
                </a:moveTo>
                <a:lnTo>
                  <a:pt x="1022012" y="1674806"/>
                </a:lnTo>
                <a:lnTo>
                  <a:pt x="1091104" y="1630523"/>
                </a:lnTo>
                <a:cubicBezTo>
                  <a:pt x="1345977" y="1438107"/>
                  <a:pt x="1479796" y="1126038"/>
                  <a:pt x="1496445" y="821979"/>
                </a:cubicBezTo>
                <a:cubicBezTo>
                  <a:pt x="1502236" y="681486"/>
                  <a:pt x="1488172" y="539499"/>
                  <a:pt x="1433574" y="407973"/>
                </a:cubicBezTo>
                <a:cubicBezTo>
                  <a:pt x="1378976" y="276448"/>
                  <a:pt x="1282187" y="157627"/>
                  <a:pt x="1149828" y="84391"/>
                </a:cubicBezTo>
                <a:cubicBezTo>
                  <a:pt x="982723" y="-6779"/>
                  <a:pt x="773428" y="-16494"/>
                  <a:pt x="582333" y="19376"/>
                </a:cubicBezTo>
                <a:cubicBezTo>
                  <a:pt x="405301" y="53005"/>
                  <a:pt x="239024" y="123998"/>
                  <a:pt x="76883" y="196487"/>
                </a:cubicBezTo>
                <a:cubicBezTo>
                  <a:pt x="64474" y="202092"/>
                  <a:pt x="51445" y="206389"/>
                  <a:pt x="38105" y="20937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9673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B27B1E60-F6D7-4F42-9A04-D653F527D7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932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Freeform 26">
            <a:extLst>
              <a:ext uri="{FF2B5EF4-FFF2-40B4-BE49-F238E27FC236}">
                <a16:creationId xmlns:a16="http://schemas.microsoft.com/office/drawing/2014/main" id="{3E937A02-4BFC-A643-89E7-565ACC903CBD}"/>
              </a:ext>
            </a:extLst>
          </p:cNvPr>
          <p:cNvSpPr/>
          <p:nvPr/>
        </p:nvSpPr>
        <p:spPr>
          <a:xfrm rot="20369329" flipH="1">
            <a:off x="9430534" y="-340951"/>
            <a:ext cx="3326796" cy="4306109"/>
          </a:xfrm>
          <a:custGeom>
            <a:avLst/>
            <a:gdLst>
              <a:gd name="connsiteX0" fmla="*/ 2246905 w 3326796"/>
              <a:gd name="connsiteY0" fmla="*/ 0 h 4306109"/>
              <a:gd name="connsiteX1" fmla="*/ 0 w 3326796"/>
              <a:gd name="connsiteY1" fmla="*/ 840584 h 4306109"/>
              <a:gd name="connsiteX2" fmla="*/ 1296478 w 3326796"/>
              <a:gd name="connsiteY2" fmla="*/ 4306109 h 4306109"/>
              <a:gd name="connsiteX3" fmla="*/ 1365385 w 3326796"/>
              <a:gd name="connsiteY3" fmla="*/ 4293307 h 4306109"/>
              <a:gd name="connsiteX4" fmla="*/ 2052951 w 3326796"/>
              <a:gd name="connsiteY4" fmla="*/ 4046543 h 4306109"/>
              <a:gd name="connsiteX5" fmla="*/ 3323853 w 3326796"/>
              <a:gd name="connsiteY5" fmla="*/ 1895945 h 4306109"/>
              <a:gd name="connsiteX6" fmla="*/ 3170780 w 3326796"/>
              <a:gd name="connsiteY6" fmla="*/ 887963 h 4306109"/>
              <a:gd name="connsiteX7" fmla="*/ 2479941 w 3326796"/>
              <a:gd name="connsiteY7" fmla="*/ 100139 h 4306109"/>
              <a:gd name="connsiteX8" fmla="*/ 2322845 w 3326796"/>
              <a:gd name="connsiteY8" fmla="*/ 26024 h 430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6796" h="4306109">
                <a:moveTo>
                  <a:pt x="2246905" y="0"/>
                </a:moveTo>
                <a:lnTo>
                  <a:pt x="0" y="840584"/>
                </a:lnTo>
                <a:lnTo>
                  <a:pt x="1296478" y="4306109"/>
                </a:lnTo>
                <a:lnTo>
                  <a:pt x="1365385" y="4293307"/>
                </a:lnTo>
                <a:cubicBezTo>
                  <a:pt x="1606826" y="4241225"/>
                  <a:pt x="1839456" y="4161169"/>
                  <a:pt x="2052951" y="4046543"/>
                </a:cubicBezTo>
                <a:cubicBezTo>
                  <a:pt x="2858594" y="3613512"/>
                  <a:pt x="3277529" y="2741992"/>
                  <a:pt x="3323853" y="1895945"/>
                </a:cubicBezTo>
                <a:cubicBezTo>
                  <a:pt x="3337951" y="1553886"/>
                  <a:pt x="3303712" y="1208189"/>
                  <a:pt x="3170780" y="887963"/>
                </a:cubicBezTo>
                <a:cubicBezTo>
                  <a:pt x="3037850" y="567739"/>
                  <a:pt x="2802198" y="278446"/>
                  <a:pt x="2479941" y="100139"/>
                </a:cubicBezTo>
                <a:cubicBezTo>
                  <a:pt x="2429085" y="72392"/>
                  <a:pt x="2376624" y="47744"/>
                  <a:pt x="2322845" y="26024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191378D-C7C0-3146-B61F-272A610B93E3}"/>
              </a:ext>
            </a:extLst>
          </p:cNvPr>
          <p:cNvSpPr/>
          <p:nvPr/>
        </p:nvSpPr>
        <p:spPr>
          <a:xfrm rot="13592941" flipH="1">
            <a:off x="2093256" y="-1717314"/>
            <a:ext cx="5079646" cy="4220014"/>
          </a:xfrm>
          <a:custGeom>
            <a:avLst/>
            <a:gdLst>
              <a:gd name="connsiteX0" fmla="*/ 0 w 5079646"/>
              <a:gd name="connsiteY0" fmla="*/ 0 h 4220014"/>
              <a:gd name="connsiteX1" fmla="*/ 3997789 w 5079646"/>
              <a:gd name="connsiteY1" fmla="*/ 4220014 h 4220014"/>
              <a:gd name="connsiteX2" fmla="*/ 4027512 w 5079646"/>
              <a:gd name="connsiteY2" fmla="*/ 4200702 h 4220014"/>
              <a:gd name="connsiteX3" fmla="*/ 5076899 w 5079646"/>
              <a:gd name="connsiteY3" fmla="*/ 2073137 h 4220014"/>
              <a:gd name="connsiteX4" fmla="*/ 4934036 w 5079646"/>
              <a:gd name="connsiteY4" fmla="*/ 1034307 h 4220014"/>
              <a:gd name="connsiteX5" fmla="*/ 4289270 w 5079646"/>
              <a:gd name="connsiteY5" fmla="*/ 222370 h 4220014"/>
              <a:gd name="connsiteX6" fmla="*/ 2999735 w 5079646"/>
              <a:gd name="connsiteY6" fmla="*/ 59232 h 4220014"/>
              <a:gd name="connsiteX7" fmla="*/ 1851185 w 5079646"/>
              <a:gd name="connsiteY7" fmla="*/ 503641 h 4220014"/>
              <a:gd name="connsiteX8" fmla="*/ 1670725 w 5079646"/>
              <a:gd name="connsiteY8" fmla="*/ 548645 h 4220014"/>
              <a:gd name="connsiteX9" fmla="*/ 516537 w 5079646"/>
              <a:gd name="connsiteY9" fmla="*/ 164240 h 4220014"/>
              <a:gd name="connsiteX10" fmla="*/ 98938 w 5079646"/>
              <a:gd name="connsiteY10" fmla="*/ 13738 h 422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079646" h="4220014">
                <a:moveTo>
                  <a:pt x="0" y="0"/>
                </a:moveTo>
                <a:lnTo>
                  <a:pt x="3997789" y="4220014"/>
                </a:lnTo>
                <a:lnTo>
                  <a:pt x="4027512" y="4200702"/>
                </a:lnTo>
                <a:cubicBezTo>
                  <a:pt x="4690185" y="3731103"/>
                  <a:pt x="5036366" y="2890584"/>
                  <a:pt x="5076899" y="2073137"/>
                </a:cubicBezTo>
                <a:cubicBezTo>
                  <a:pt x="5090058" y="1720611"/>
                  <a:pt x="5058101" y="1364333"/>
                  <a:pt x="4934036" y="1034307"/>
                </a:cubicBezTo>
                <a:cubicBezTo>
                  <a:pt x="4809970" y="704283"/>
                  <a:pt x="4590034" y="406134"/>
                  <a:pt x="4289270" y="222370"/>
                </a:cubicBezTo>
                <a:cubicBezTo>
                  <a:pt x="3909552" y="-6398"/>
                  <a:pt x="3433966" y="-30775"/>
                  <a:pt x="2999735" y="59232"/>
                </a:cubicBezTo>
                <a:cubicBezTo>
                  <a:pt x="2597460" y="143614"/>
                  <a:pt x="2219624" y="321752"/>
                  <a:pt x="1851185" y="503641"/>
                </a:cubicBezTo>
                <a:cubicBezTo>
                  <a:pt x="1794792" y="531768"/>
                  <a:pt x="1732759" y="546770"/>
                  <a:pt x="1670725" y="548645"/>
                </a:cubicBezTo>
                <a:cubicBezTo>
                  <a:pt x="1260932" y="582398"/>
                  <a:pt x="881215" y="355505"/>
                  <a:pt x="516537" y="164240"/>
                </a:cubicBezTo>
                <a:cubicBezTo>
                  <a:pt x="379782" y="92516"/>
                  <a:pt x="240120" y="41359"/>
                  <a:pt x="98938" y="13738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AD704874-AB95-5043-9CC6-B52A9E9518D9}"/>
              </a:ext>
            </a:extLst>
          </p:cNvPr>
          <p:cNvSpPr/>
          <p:nvPr/>
        </p:nvSpPr>
        <p:spPr>
          <a:xfrm rot="5400000">
            <a:off x="-89451" y="2126212"/>
            <a:ext cx="5337175" cy="4126401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3B73B1-04A0-3F45-81EB-2D779626C3CD}"/>
              </a:ext>
            </a:extLst>
          </p:cNvPr>
          <p:cNvSpPr/>
          <p:nvPr/>
        </p:nvSpPr>
        <p:spPr>
          <a:xfrm>
            <a:off x="4232757" y="2091039"/>
            <a:ext cx="7443305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F8430A-B66F-1849-8F17-67AF6AD602F1}"/>
              </a:ext>
            </a:extLst>
          </p:cNvPr>
          <p:cNvSpPr/>
          <p:nvPr/>
        </p:nvSpPr>
        <p:spPr>
          <a:xfrm>
            <a:off x="4232758" y="2091040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2B2284-EDDC-1349-A934-8678D77778DA}"/>
              </a:ext>
            </a:extLst>
          </p:cNvPr>
          <p:cNvSpPr/>
          <p:nvPr/>
        </p:nvSpPr>
        <p:spPr>
          <a:xfrm flipH="1">
            <a:off x="4385456" y="2206736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AF94B8-F629-6E4F-8F14-FDE08CA23095}"/>
              </a:ext>
            </a:extLst>
          </p:cNvPr>
          <p:cNvSpPr/>
          <p:nvPr/>
        </p:nvSpPr>
        <p:spPr>
          <a:xfrm>
            <a:off x="5225143" y="2373842"/>
            <a:ext cx="37719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6BAD925-ABD9-EC48-8D42-7B9DE73826D9}"/>
              </a:ext>
            </a:extLst>
          </p:cNvPr>
          <p:cNvSpPr/>
          <p:nvPr/>
        </p:nvSpPr>
        <p:spPr>
          <a:xfrm>
            <a:off x="4232757" y="3038475"/>
            <a:ext cx="7443305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13F8188-1451-EB43-B28A-5DA8DFF48C0F}"/>
              </a:ext>
            </a:extLst>
          </p:cNvPr>
          <p:cNvSpPr/>
          <p:nvPr/>
        </p:nvSpPr>
        <p:spPr>
          <a:xfrm>
            <a:off x="4232758" y="3038476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97D8E8-B903-0947-B3CF-B1BE12A95308}"/>
              </a:ext>
            </a:extLst>
          </p:cNvPr>
          <p:cNvSpPr/>
          <p:nvPr/>
        </p:nvSpPr>
        <p:spPr>
          <a:xfrm flipH="1">
            <a:off x="4385456" y="3154172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b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61D7E64-01BE-6441-8B87-F9F3BACE8808}"/>
              </a:ext>
            </a:extLst>
          </p:cNvPr>
          <p:cNvSpPr/>
          <p:nvPr/>
        </p:nvSpPr>
        <p:spPr>
          <a:xfrm>
            <a:off x="4232757" y="3985911"/>
            <a:ext cx="7443305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D5FF0D-33D3-4A43-AAC9-284C6EE884A8}"/>
              </a:ext>
            </a:extLst>
          </p:cNvPr>
          <p:cNvSpPr/>
          <p:nvPr/>
        </p:nvSpPr>
        <p:spPr>
          <a:xfrm>
            <a:off x="4232758" y="3985912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79B367-C8D4-5949-B3AB-3F4F6D7A2468}"/>
              </a:ext>
            </a:extLst>
          </p:cNvPr>
          <p:cNvSpPr/>
          <p:nvPr/>
        </p:nvSpPr>
        <p:spPr>
          <a:xfrm flipH="1">
            <a:off x="4385456" y="4101608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c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A684D42D-EEE3-194D-8FC1-0C7617D43FF7}"/>
              </a:ext>
            </a:extLst>
          </p:cNvPr>
          <p:cNvSpPr/>
          <p:nvPr/>
        </p:nvSpPr>
        <p:spPr>
          <a:xfrm>
            <a:off x="4232757" y="4933346"/>
            <a:ext cx="7443305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A57EACB-C89E-A84D-9997-E8AE596D818A}"/>
              </a:ext>
            </a:extLst>
          </p:cNvPr>
          <p:cNvSpPr/>
          <p:nvPr/>
        </p:nvSpPr>
        <p:spPr>
          <a:xfrm>
            <a:off x="4232758" y="4933347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B421F4-AF82-B14E-942B-DB713ADAFFAB}"/>
              </a:ext>
            </a:extLst>
          </p:cNvPr>
          <p:cNvSpPr/>
          <p:nvPr/>
        </p:nvSpPr>
        <p:spPr>
          <a:xfrm flipH="1">
            <a:off x="4385456" y="5049043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d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5A4CC5-AF8D-C647-89FD-C0B4E6672BEE}"/>
              </a:ext>
            </a:extLst>
          </p:cNvPr>
          <p:cNvSpPr/>
          <p:nvPr/>
        </p:nvSpPr>
        <p:spPr>
          <a:xfrm>
            <a:off x="5225143" y="3321278"/>
            <a:ext cx="37719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97BE51-894E-444C-97EF-9BF5761CD6DF}"/>
              </a:ext>
            </a:extLst>
          </p:cNvPr>
          <p:cNvSpPr/>
          <p:nvPr/>
        </p:nvSpPr>
        <p:spPr>
          <a:xfrm>
            <a:off x="5225143" y="4268714"/>
            <a:ext cx="37719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30A787-7E45-B245-82D9-0DF19CDAF7A4}"/>
              </a:ext>
            </a:extLst>
          </p:cNvPr>
          <p:cNvSpPr/>
          <p:nvPr/>
        </p:nvSpPr>
        <p:spPr>
          <a:xfrm>
            <a:off x="5225143" y="5216149"/>
            <a:ext cx="37719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4CE1669-6729-AC42-8B3E-33AF2BDB0C4A}"/>
              </a:ext>
            </a:extLst>
          </p:cNvPr>
          <p:cNvSpPr/>
          <p:nvPr/>
        </p:nvSpPr>
        <p:spPr>
          <a:xfrm>
            <a:off x="963505" y="3400393"/>
            <a:ext cx="2897781" cy="221599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5940F45-FA2D-614F-AA1C-D37610C5AE92}"/>
              </a:ext>
            </a:extLst>
          </p:cNvPr>
          <p:cNvGrpSpPr/>
          <p:nvPr/>
        </p:nvGrpSpPr>
        <p:grpSpPr>
          <a:xfrm>
            <a:off x="963505" y="2177175"/>
            <a:ext cx="1099277" cy="924940"/>
            <a:chOff x="2670175" y="2913063"/>
            <a:chExt cx="360363" cy="303212"/>
          </a:xfrm>
          <a:solidFill>
            <a:schemeClr val="bg1"/>
          </a:solidFill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9003C990-8E8A-4D46-A7DC-3C0B3925B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5113" y="2913063"/>
              <a:ext cx="225425" cy="258763"/>
            </a:xfrm>
            <a:custGeom>
              <a:avLst/>
              <a:gdLst>
                <a:gd name="T0" fmla="*/ 52 w 60"/>
                <a:gd name="T1" fmla="*/ 24 h 68"/>
                <a:gd name="T2" fmla="*/ 52 w 60"/>
                <a:gd name="T3" fmla="*/ 2 h 68"/>
                <a:gd name="T4" fmla="*/ 51 w 60"/>
                <a:gd name="T5" fmla="*/ 0 h 68"/>
                <a:gd name="T6" fmla="*/ 49 w 60"/>
                <a:gd name="T7" fmla="*/ 0 h 68"/>
                <a:gd name="T8" fmla="*/ 46 w 60"/>
                <a:gd name="T9" fmla="*/ 2 h 68"/>
                <a:gd name="T10" fmla="*/ 0 w 60"/>
                <a:gd name="T11" fmla="*/ 15 h 68"/>
                <a:gd name="T12" fmla="*/ 0 w 60"/>
                <a:gd name="T13" fmla="*/ 53 h 68"/>
                <a:gd name="T14" fmla="*/ 46 w 60"/>
                <a:gd name="T15" fmla="*/ 66 h 68"/>
                <a:gd name="T16" fmla="*/ 50 w 60"/>
                <a:gd name="T17" fmla="*/ 68 h 68"/>
                <a:gd name="T18" fmla="*/ 51 w 60"/>
                <a:gd name="T19" fmla="*/ 68 h 68"/>
                <a:gd name="T20" fmla="*/ 52 w 60"/>
                <a:gd name="T21" fmla="*/ 66 h 68"/>
                <a:gd name="T22" fmla="*/ 52 w 60"/>
                <a:gd name="T23" fmla="*/ 44 h 68"/>
                <a:gd name="T24" fmla="*/ 60 w 60"/>
                <a:gd name="T25" fmla="*/ 36 h 68"/>
                <a:gd name="T26" fmla="*/ 60 w 60"/>
                <a:gd name="T27" fmla="*/ 32 h 68"/>
                <a:gd name="T28" fmla="*/ 52 w 60"/>
                <a:gd name="T29" fmla="*/ 24 h 68"/>
                <a:gd name="T30" fmla="*/ 56 w 60"/>
                <a:gd name="T31" fmla="*/ 36 h 68"/>
                <a:gd name="T32" fmla="*/ 52 w 60"/>
                <a:gd name="T33" fmla="*/ 40 h 68"/>
                <a:gd name="T34" fmla="*/ 52 w 60"/>
                <a:gd name="T35" fmla="*/ 28 h 68"/>
                <a:gd name="T36" fmla="*/ 56 w 60"/>
                <a:gd name="T37" fmla="*/ 32 h 68"/>
                <a:gd name="T38" fmla="*/ 56 w 60"/>
                <a:gd name="T39" fmla="*/ 3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68">
                  <a:moveTo>
                    <a:pt x="52" y="24"/>
                  </a:move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2" y="1"/>
                    <a:pt x="51" y="0"/>
                  </a:cubicBezTo>
                  <a:cubicBezTo>
                    <a:pt x="51" y="0"/>
                    <a:pt x="50" y="0"/>
                    <a:pt x="49" y="0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33" y="8"/>
                    <a:pt x="21" y="13"/>
                    <a:pt x="0" y="15"/>
                  </a:cubicBezTo>
                  <a:cubicBezTo>
                    <a:pt x="0" y="16"/>
                    <a:pt x="0" y="52"/>
                    <a:pt x="0" y="53"/>
                  </a:cubicBezTo>
                  <a:cubicBezTo>
                    <a:pt x="21" y="55"/>
                    <a:pt x="33" y="60"/>
                    <a:pt x="46" y="66"/>
                  </a:cubicBezTo>
                  <a:cubicBezTo>
                    <a:pt x="46" y="66"/>
                    <a:pt x="49" y="68"/>
                    <a:pt x="50" y="68"/>
                  </a:cubicBezTo>
                  <a:cubicBezTo>
                    <a:pt x="50" y="68"/>
                    <a:pt x="51" y="68"/>
                    <a:pt x="51" y="68"/>
                  </a:cubicBezTo>
                  <a:cubicBezTo>
                    <a:pt x="52" y="67"/>
                    <a:pt x="52" y="67"/>
                    <a:pt x="52" y="66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6" y="44"/>
                    <a:pt x="60" y="40"/>
                    <a:pt x="60" y="36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28"/>
                    <a:pt x="56" y="24"/>
                    <a:pt x="52" y="24"/>
                  </a:cubicBezTo>
                  <a:close/>
                  <a:moveTo>
                    <a:pt x="56" y="36"/>
                  </a:moveTo>
                  <a:cubicBezTo>
                    <a:pt x="56" y="38"/>
                    <a:pt x="54" y="40"/>
                    <a:pt x="52" y="40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4" y="28"/>
                    <a:pt x="56" y="30"/>
                    <a:pt x="56" y="32"/>
                  </a:cubicBezTo>
                  <a:lnTo>
                    <a:pt x="5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1A854759-1128-CB46-AD01-DDD925082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2973388"/>
              <a:ext cx="90488" cy="136525"/>
            </a:xfrm>
            <a:custGeom>
              <a:avLst/>
              <a:gdLst>
                <a:gd name="T0" fmla="*/ 14 w 24"/>
                <a:gd name="T1" fmla="*/ 0 h 36"/>
                <a:gd name="T2" fmla="*/ 0 w 24"/>
                <a:gd name="T3" fmla="*/ 14 h 36"/>
                <a:gd name="T4" fmla="*/ 0 w 24"/>
                <a:gd name="T5" fmla="*/ 22 h 36"/>
                <a:gd name="T6" fmla="*/ 14 w 24"/>
                <a:gd name="T7" fmla="*/ 36 h 36"/>
                <a:gd name="T8" fmla="*/ 18 w 24"/>
                <a:gd name="T9" fmla="*/ 36 h 36"/>
                <a:gd name="T10" fmla="*/ 24 w 24"/>
                <a:gd name="T11" fmla="*/ 36 h 36"/>
                <a:gd name="T12" fmla="*/ 24 w 24"/>
                <a:gd name="T13" fmla="*/ 0 h 36"/>
                <a:gd name="T14" fmla="*/ 18 w 24"/>
                <a:gd name="T15" fmla="*/ 0 h 36"/>
                <a:gd name="T16" fmla="*/ 14 w 24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6">
                  <a:moveTo>
                    <a:pt x="14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"/>
                    <a:pt x="6" y="36"/>
                    <a:pt x="14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6"/>
                    <a:pt x="22" y="36"/>
                    <a:pt x="24" y="36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424C63A-ACA0-3547-8A88-A26CFC126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2959100"/>
              <a:ext cx="76200" cy="257175"/>
            </a:xfrm>
            <a:custGeom>
              <a:avLst/>
              <a:gdLst>
                <a:gd name="T0" fmla="*/ 19 w 20"/>
                <a:gd name="T1" fmla="*/ 64 h 68"/>
                <a:gd name="T2" fmla="*/ 15 w 20"/>
                <a:gd name="T3" fmla="*/ 62 h 68"/>
                <a:gd name="T4" fmla="*/ 4 w 20"/>
                <a:gd name="T5" fmla="*/ 42 h 68"/>
                <a:gd name="T6" fmla="*/ 4 w 20"/>
                <a:gd name="T7" fmla="*/ 40 h 68"/>
                <a:gd name="T8" fmla="*/ 4 w 20"/>
                <a:gd name="T9" fmla="*/ 40 h 68"/>
                <a:gd name="T10" fmla="*/ 4 w 20"/>
                <a:gd name="T11" fmla="*/ 2 h 68"/>
                <a:gd name="T12" fmla="*/ 2 w 20"/>
                <a:gd name="T13" fmla="*/ 0 h 68"/>
                <a:gd name="T14" fmla="*/ 0 w 20"/>
                <a:gd name="T15" fmla="*/ 2 h 68"/>
                <a:gd name="T16" fmla="*/ 0 w 20"/>
                <a:gd name="T17" fmla="*/ 40 h 68"/>
                <a:gd name="T18" fmla="*/ 3 w 20"/>
                <a:gd name="T19" fmla="*/ 54 h 68"/>
                <a:gd name="T20" fmla="*/ 5 w 20"/>
                <a:gd name="T21" fmla="*/ 56 h 68"/>
                <a:gd name="T22" fmla="*/ 9 w 20"/>
                <a:gd name="T23" fmla="*/ 61 h 68"/>
                <a:gd name="T24" fmla="*/ 17 w 20"/>
                <a:gd name="T25" fmla="*/ 68 h 68"/>
                <a:gd name="T26" fmla="*/ 17 w 20"/>
                <a:gd name="T27" fmla="*/ 68 h 68"/>
                <a:gd name="T28" fmla="*/ 19 w 20"/>
                <a:gd name="T29" fmla="*/ 68 h 68"/>
                <a:gd name="T30" fmla="*/ 19 w 20"/>
                <a:gd name="T31" fmla="*/ 67 h 68"/>
                <a:gd name="T32" fmla="*/ 19 w 20"/>
                <a:gd name="T33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68">
                  <a:moveTo>
                    <a:pt x="19" y="64"/>
                  </a:moveTo>
                  <a:cubicBezTo>
                    <a:pt x="18" y="64"/>
                    <a:pt x="17" y="63"/>
                    <a:pt x="15" y="62"/>
                  </a:cubicBezTo>
                  <a:cubicBezTo>
                    <a:pt x="9" y="57"/>
                    <a:pt x="5" y="50"/>
                    <a:pt x="4" y="42"/>
                  </a:cubicBezTo>
                  <a:cubicBezTo>
                    <a:pt x="4" y="42"/>
                    <a:pt x="4" y="41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5"/>
                    <a:pt x="1" y="50"/>
                    <a:pt x="3" y="54"/>
                  </a:cubicBezTo>
                  <a:cubicBezTo>
                    <a:pt x="4" y="55"/>
                    <a:pt x="4" y="56"/>
                    <a:pt x="5" y="56"/>
                  </a:cubicBezTo>
                  <a:cubicBezTo>
                    <a:pt x="6" y="58"/>
                    <a:pt x="7" y="60"/>
                    <a:pt x="9" y="61"/>
                  </a:cubicBezTo>
                  <a:cubicBezTo>
                    <a:pt x="11" y="64"/>
                    <a:pt x="14" y="66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8" y="68"/>
                    <a:pt x="19" y="68"/>
                    <a:pt x="19" y="68"/>
                  </a:cubicBezTo>
                  <a:cubicBezTo>
                    <a:pt x="19" y="68"/>
                    <a:pt x="19" y="67"/>
                    <a:pt x="19" y="67"/>
                  </a:cubicBezTo>
                  <a:cubicBezTo>
                    <a:pt x="20" y="66"/>
                    <a:pt x="20" y="65"/>
                    <a:pt x="1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744673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6D087D-29A8-C744-AB82-D579E2AD5B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486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>
            <a:extLst>
              <a:ext uri="{FF2B5EF4-FFF2-40B4-BE49-F238E27FC236}">
                <a16:creationId xmlns:a16="http://schemas.microsoft.com/office/drawing/2014/main" id="{BBF3D55A-B69B-EC49-8FBF-32D2FBDD67A9}"/>
              </a:ext>
            </a:extLst>
          </p:cNvPr>
          <p:cNvSpPr/>
          <p:nvPr/>
        </p:nvSpPr>
        <p:spPr>
          <a:xfrm rot="1754024" flipH="1">
            <a:off x="4322731" y="4338245"/>
            <a:ext cx="5467940" cy="3546289"/>
          </a:xfrm>
          <a:custGeom>
            <a:avLst/>
            <a:gdLst>
              <a:gd name="connsiteX0" fmla="*/ 4818409 w 5467940"/>
              <a:gd name="connsiteY0" fmla="*/ 190968 h 3546289"/>
              <a:gd name="connsiteX1" fmla="*/ 3758672 w 5467940"/>
              <a:gd name="connsiteY1" fmla="*/ 56901 h 3546289"/>
              <a:gd name="connsiteX2" fmla="*/ 2814795 w 5467940"/>
              <a:gd name="connsiteY2" fmla="*/ 422116 h 3546289"/>
              <a:gd name="connsiteX3" fmla="*/ 2666493 w 5467940"/>
              <a:gd name="connsiteY3" fmla="*/ 459100 h 3546289"/>
              <a:gd name="connsiteX4" fmla="*/ 1717982 w 5467940"/>
              <a:gd name="connsiteY4" fmla="*/ 143197 h 3546289"/>
              <a:gd name="connsiteX5" fmla="*/ 789554 w 5467940"/>
              <a:gd name="connsiteY5" fmla="*/ 78475 h 3546289"/>
              <a:gd name="connsiteX6" fmla="*/ 17150 w 5467940"/>
              <a:gd name="connsiteY6" fmla="*/ 966086 h 3546289"/>
              <a:gd name="connsiteX7" fmla="*/ 0 w 5467940"/>
              <a:gd name="connsiteY7" fmla="*/ 1047786 h 3546289"/>
              <a:gd name="connsiteX8" fmla="*/ 4464371 w 5467940"/>
              <a:gd name="connsiteY8" fmla="*/ 3546289 h 3546289"/>
              <a:gd name="connsiteX9" fmla="*/ 4490910 w 5467940"/>
              <a:gd name="connsiteY9" fmla="*/ 3533379 h 3546289"/>
              <a:gd name="connsiteX10" fmla="*/ 5465683 w 5467940"/>
              <a:gd name="connsiteY10" fmla="*/ 1711927 h 3546289"/>
              <a:gd name="connsiteX11" fmla="*/ 5348278 w 5467940"/>
              <a:gd name="connsiteY11" fmla="*/ 858217 h 3546289"/>
              <a:gd name="connsiteX12" fmla="*/ 4818409 w 5467940"/>
              <a:gd name="connsiteY12" fmla="*/ 190968 h 3546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67940" h="3546289">
                <a:moveTo>
                  <a:pt x="4818409" y="190968"/>
                </a:moveTo>
                <a:cubicBezTo>
                  <a:pt x="4506358" y="2967"/>
                  <a:pt x="4115522" y="-17066"/>
                  <a:pt x="3758672" y="56901"/>
                </a:cubicBezTo>
                <a:cubicBezTo>
                  <a:pt x="3428083" y="126246"/>
                  <a:pt x="3117577" y="272640"/>
                  <a:pt x="2814795" y="422116"/>
                </a:cubicBezTo>
                <a:cubicBezTo>
                  <a:pt x="2768451" y="445231"/>
                  <a:pt x="2717472" y="457559"/>
                  <a:pt x="2666493" y="459100"/>
                </a:cubicBezTo>
                <a:cubicBezTo>
                  <a:pt x="2329726" y="486838"/>
                  <a:pt x="2017674" y="300378"/>
                  <a:pt x="1717982" y="143197"/>
                </a:cubicBezTo>
                <a:cubicBezTo>
                  <a:pt x="1418290" y="-13985"/>
                  <a:pt x="1101604" y="-50969"/>
                  <a:pt x="789554" y="78475"/>
                </a:cubicBezTo>
                <a:cubicBezTo>
                  <a:pt x="448152" y="220246"/>
                  <a:pt x="108294" y="610117"/>
                  <a:pt x="17150" y="966086"/>
                </a:cubicBezTo>
                <a:lnTo>
                  <a:pt x="0" y="1047786"/>
                </a:lnTo>
                <a:lnTo>
                  <a:pt x="4464371" y="3546289"/>
                </a:lnTo>
                <a:lnTo>
                  <a:pt x="4490910" y="3533379"/>
                </a:lnTo>
                <a:cubicBezTo>
                  <a:pt x="5108833" y="3166623"/>
                  <a:pt x="5430152" y="2428488"/>
                  <a:pt x="5465683" y="1711927"/>
                </a:cubicBezTo>
                <a:cubicBezTo>
                  <a:pt x="5476496" y="1422220"/>
                  <a:pt x="5450234" y="1129431"/>
                  <a:pt x="5348278" y="858217"/>
                </a:cubicBezTo>
                <a:cubicBezTo>
                  <a:pt x="5246320" y="587003"/>
                  <a:pt x="5065578" y="341985"/>
                  <a:pt x="4818409" y="190968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310CD4E8-50DA-2348-81C3-DB785EBC6A36}"/>
              </a:ext>
            </a:extLst>
          </p:cNvPr>
          <p:cNvSpPr/>
          <p:nvPr/>
        </p:nvSpPr>
        <p:spPr>
          <a:xfrm rot="19845976">
            <a:off x="7035775" y="3042598"/>
            <a:ext cx="6476621" cy="4557511"/>
          </a:xfrm>
          <a:custGeom>
            <a:avLst/>
            <a:gdLst>
              <a:gd name="connsiteX0" fmla="*/ 6247117 w 6476621"/>
              <a:gd name="connsiteY0" fmla="*/ 245282 h 4557511"/>
              <a:gd name="connsiteX1" fmla="*/ 6468971 w 6476621"/>
              <a:gd name="connsiteY1" fmla="*/ 412035 h 4557511"/>
              <a:gd name="connsiteX2" fmla="*/ 6476621 w 6476621"/>
              <a:gd name="connsiteY2" fmla="*/ 419633 h 4557511"/>
              <a:gd name="connsiteX3" fmla="*/ 4160841 w 6476621"/>
              <a:gd name="connsiteY3" fmla="*/ 4557511 h 4557511"/>
              <a:gd name="connsiteX4" fmla="*/ 30393 w 6476621"/>
              <a:gd name="connsiteY4" fmla="*/ 2245889 h 4557511"/>
              <a:gd name="connsiteX5" fmla="*/ 13094 w 6476621"/>
              <a:gd name="connsiteY5" fmla="*/ 2123365 h 4557511"/>
              <a:gd name="connsiteX6" fmla="*/ 80307 w 6476621"/>
              <a:gd name="connsiteY6" fmla="*/ 1240856 h 4557511"/>
              <a:gd name="connsiteX7" fmla="*/ 1072394 w 6476621"/>
              <a:gd name="connsiteY7" fmla="*/ 100795 h 4557511"/>
              <a:gd name="connsiteX8" fmla="*/ 2264882 w 6476621"/>
              <a:gd name="connsiteY8" fmla="*/ 183924 h 4557511"/>
              <a:gd name="connsiteX9" fmla="*/ 3483164 w 6476621"/>
              <a:gd name="connsiteY9" fmla="*/ 589675 h 4557511"/>
              <a:gd name="connsiteX10" fmla="*/ 3673644 w 6476621"/>
              <a:gd name="connsiteY10" fmla="*/ 542172 h 4557511"/>
              <a:gd name="connsiteX11" fmla="*/ 4885974 w 6476621"/>
              <a:gd name="connsiteY11" fmla="*/ 73085 h 4557511"/>
              <a:gd name="connsiteX12" fmla="*/ 6247117 w 6476621"/>
              <a:gd name="connsiteY12" fmla="*/ 245282 h 4557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476621" h="4557511">
                <a:moveTo>
                  <a:pt x="6247117" y="245282"/>
                </a:moveTo>
                <a:cubicBezTo>
                  <a:pt x="6326484" y="293774"/>
                  <a:pt x="6400518" y="349812"/>
                  <a:pt x="6468971" y="412035"/>
                </a:cubicBezTo>
                <a:lnTo>
                  <a:pt x="6476621" y="419633"/>
                </a:lnTo>
                <a:lnTo>
                  <a:pt x="4160841" y="4557511"/>
                </a:lnTo>
                <a:lnTo>
                  <a:pt x="30393" y="2245889"/>
                </a:lnTo>
                <a:lnTo>
                  <a:pt x="13094" y="2123365"/>
                </a:lnTo>
                <a:cubicBezTo>
                  <a:pt x="-15925" y="1836617"/>
                  <a:pt x="1933" y="1547643"/>
                  <a:pt x="80307" y="1240856"/>
                </a:cubicBezTo>
                <a:cubicBezTo>
                  <a:pt x="197373" y="783643"/>
                  <a:pt x="633892" y="282888"/>
                  <a:pt x="1072394" y="100795"/>
                </a:cubicBezTo>
                <a:cubicBezTo>
                  <a:pt x="1473197" y="-65465"/>
                  <a:pt x="1879952" y="-17962"/>
                  <a:pt x="2264882" y="183924"/>
                </a:cubicBezTo>
                <a:cubicBezTo>
                  <a:pt x="2649810" y="385810"/>
                  <a:pt x="3050614" y="625303"/>
                  <a:pt x="3483164" y="589675"/>
                </a:cubicBezTo>
                <a:cubicBezTo>
                  <a:pt x="3548642" y="587696"/>
                  <a:pt x="3614119" y="571862"/>
                  <a:pt x="3673644" y="542172"/>
                </a:cubicBezTo>
                <a:cubicBezTo>
                  <a:pt x="4062542" y="350183"/>
                  <a:pt x="4461361" y="162152"/>
                  <a:pt x="4885974" y="73085"/>
                </a:cubicBezTo>
                <a:cubicBezTo>
                  <a:pt x="5344318" y="-21920"/>
                  <a:pt x="5846314" y="3810"/>
                  <a:pt x="6247117" y="245282"/>
                </a:cubicBezTo>
                <a:close/>
              </a:path>
            </a:pathLst>
          </a:custGeom>
          <a:pattFill prst="pct10">
            <a:fgClr>
              <a:schemeClr val="accent1">
                <a:lumMod val="50000"/>
              </a:schemeClr>
            </a:fgClr>
            <a:bgClr>
              <a:schemeClr val="accent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95C02063-DC1C-4745-B10D-3ECB96873850}"/>
              </a:ext>
            </a:extLst>
          </p:cNvPr>
          <p:cNvSpPr/>
          <p:nvPr/>
        </p:nvSpPr>
        <p:spPr>
          <a:xfrm rot="2381791">
            <a:off x="-686795" y="-229965"/>
            <a:ext cx="4402228" cy="3792497"/>
          </a:xfrm>
          <a:custGeom>
            <a:avLst/>
            <a:gdLst>
              <a:gd name="connsiteX0" fmla="*/ 0 w 4402228"/>
              <a:gd name="connsiteY0" fmla="*/ 1615525 h 3792497"/>
              <a:gd name="connsiteX1" fmla="*/ 1421233 w 4402228"/>
              <a:gd name="connsiteY1" fmla="*/ 435740 h 3792497"/>
              <a:gd name="connsiteX2" fmla="*/ 1475628 w 4402228"/>
              <a:gd name="connsiteY2" fmla="*/ 442990 h 3792497"/>
              <a:gd name="connsiteX3" fmla="*/ 1600781 w 4402228"/>
              <a:gd name="connsiteY3" fmla="*/ 442153 h 3792497"/>
              <a:gd name="connsiteX4" fmla="*/ 1749083 w 4402228"/>
              <a:gd name="connsiteY4" fmla="*/ 405169 h 3792497"/>
              <a:gd name="connsiteX5" fmla="*/ 2692960 w 4402228"/>
              <a:gd name="connsiteY5" fmla="*/ 39954 h 3792497"/>
              <a:gd name="connsiteX6" fmla="*/ 3752697 w 4402228"/>
              <a:gd name="connsiteY6" fmla="*/ 174021 h 3792497"/>
              <a:gd name="connsiteX7" fmla="*/ 4282565 w 4402228"/>
              <a:gd name="connsiteY7" fmla="*/ 841270 h 3792497"/>
              <a:gd name="connsiteX8" fmla="*/ 4399971 w 4402228"/>
              <a:gd name="connsiteY8" fmla="*/ 1694980 h 3792497"/>
              <a:gd name="connsiteX9" fmla="*/ 3425198 w 4402228"/>
              <a:gd name="connsiteY9" fmla="*/ 3516432 h 3792497"/>
              <a:gd name="connsiteX10" fmla="*/ 2329930 w 4402228"/>
              <a:gd name="connsiteY10" fmla="*/ 3792269 h 3792497"/>
              <a:gd name="connsiteX11" fmla="*/ 2044600 w 4402228"/>
              <a:gd name="connsiteY11" fmla="*/ 3783384 h 3792497"/>
              <a:gd name="connsiteX12" fmla="*/ 1776137 w 4402228"/>
              <a:gd name="connsiteY12" fmla="*/ 3755157 h 379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02228" h="3792497">
                <a:moveTo>
                  <a:pt x="0" y="1615525"/>
                </a:moveTo>
                <a:lnTo>
                  <a:pt x="1421233" y="435740"/>
                </a:lnTo>
                <a:lnTo>
                  <a:pt x="1475628" y="442990"/>
                </a:lnTo>
                <a:cubicBezTo>
                  <a:pt x="1516975" y="445741"/>
                  <a:pt x="1558685" y="445620"/>
                  <a:pt x="1600781" y="442153"/>
                </a:cubicBezTo>
                <a:cubicBezTo>
                  <a:pt x="1651760" y="440612"/>
                  <a:pt x="1702739" y="428284"/>
                  <a:pt x="1749083" y="405169"/>
                </a:cubicBezTo>
                <a:cubicBezTo>
                  <a:pt x="2051865" y="255693"/>
                  <a:pt x="2362371" y="109299"/>
                  <a:pt x="2692960" y="39954"/>
                </a:cubicBezTo>
                <a:cubicBezTo>
                  <a:pt x="3049810" y="-34013"/>
                  <a:pt x="3440646" y="-13980"/>
                  <a:pt x="3752697" y="174021"/>
                </a:cubicBezTo>
                <a:cubicBezTo>
                  <a:pt x="3999866" y="325038"/>
                  <a:pt x="4180608" y="570056"/>
                  <a:pt x="4282565" y="841270"/>
                </a:cubicBezTo>
                <a:cubicBezTo>
                  <a:pt x="4384522" y="1112484"/>
                  <a:pt x="4410784" y="1405273"/>
                  <a:pt x="4399971" y="1694980"/>
                </a:cubicBezTo>
                <a:cubicBezTo>
                  <a:pt x="4364440" y="2411541"/>
                  <a:pt x="4043120" y="3149676"/>
                  <a:pt x="3425198" y="3516432"/>
                </a:cubicBezTo>
                <a:cubicBezTo>
                  <a:pt x="3097699" y="3710597"/>
                  <a:pt x="2711497" y="3787647"/>
                  <a:pt x="2329930" y="3792269"/>
                </a:cubicBezTo>
                <a:cubicBezTo>
                  <a:pt x="2234539" y="3793425"/>
                  <a:pt x="2139436" y="3790150"/>
                  <a:pt x="2044600" y="3783384"/>
                </a:cubicBezTo>
                <a:lnTo>
                  <a:pt x="1776137" y="3755157"/>
                </a:ln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7749A32-2C21-C74E-A5A8-47B302093A1F}"/>
              </a:ext>
            </a:extLst>
          </p:cNvPr>
          <p:cNvSpPr/>
          <p:nvPr/>
        </p:nvSpPr>
        <p:spPr>
          <a:xfrm flipH="1">
            <a:off x="515938" y="1318486"/>
            <a:ext cx="8120559" cy="4308112"/>
          </a:xfrm>
          <a:custGeom>
            <a:avLst/>
            <a:gdLst>
              <a:gd name="connsiteX0" fmla="*/ 1376264 w 10109240"/>
              <a:gd name="connsiteY0" fmla="*/ 0 h 5125392"/>
              <a:gd name="connsiteX1" fmla="*/ 9507718 w 10109240"/>
              <a:gd name="connsiteY1" fmla="*/ 0 h 5125392"/>
              <a:gd name="connsiteX2" fmla="*/ 10109240 w 10109240"/>
              <a:gd name="connsiteY2" fmla="*/ 601522 h 5125392"/>
              <a:gd name="connsiteX3" fmla="*/ 10109240 w 10109240"/>
              <a:gd name="connsiteY3" fmla="*/ 3742538 h 5125392"/>
              <a:gd name="connsiteX4" fmla="*/ 9507718 w 10109240"/>
              <a:gd name="connsiteY4" fmla="*/ 4344060 h 5125392"/>
              <a:gd name="connsiteX5" fmla="*/ 1718329 w 10109240"/>
              <a:gd name="connsiteY5" fmla="*/ 4344060 h 5125392"/>
              <a:gd name="connsiteX6" fmla="*/ 1627336 w 10109240"/>
              <a:gd name="connsiteY6" fmla="*/ 4465743 h 5125392"/>
              <a:gd name="connsiteX7" fmla="*/ 228579 w 10109240"/>
              <a:gd name="connsiteY7" fmla="*/ 5125392 h 5125392"/>
              <a:gd name="connsiteX8" fmla="*/ 43242 w 10109240"/>
              <a:gd name="connsiteY8" fmla="*/ 5116035 h 5125392"/>
              <a:gd name="connsiteX9" fmla="*/ 0 w 10109240"/>
              <a:gd name="connsiteY9" fmla="*/ 5109434 h 5125392"/>
              <a:gd name="connsiteX10" fmla="*/ 136625 w 10109240"/>
              <a:gd name="connsiteY10" fmla="*/ 5007268 h 5125392"/>
              <a:gd name="connsiteX11" fmla="*/ 749856 w 10109240"/>
              <a:gd name="connsiteY11" fmla="*/ 4017883 h 5125392"/>
              <a:gd name="connsiteX12" fmla="*/ 783041 w 10109240"/>
              <a:gd name="connsiteY12" fmla="*/ 3824865 h 5125392"/>
              <a:gd name="connsiteX13" fmla="*/ 774742 w 10109240"/>
              <a:gd name="connsiteY13" fmla="*/ 3742538 h 5125392"/>
              <a:gd name="connsiteX14" fmla="*/ 774742 w 10109240"/>
              <a:gd name="connsiteY14" fmla="*/ 3338474 h 5125392"/>
              <a:gd name="connsiteX15" fmla="*/ 774742 w 10109240"/>
              <a:gd name="connsiteY15" fmla="*/ 1584122 h 5125392"/>
              <a:gd name="connsiteX16" fmla="*/ 774742 w 10109240"/>
              <a:gd name="connsiteY16" fmla="*/ 601522 h 5125392"/>
              <a:gd name="connsiteX17" fmla="*/ 1376264 w 10109240"/>
              <a:gd name="connsiteY17" fmla="*/ 0 h 5125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109240" h="5125392">
                <a:moveTo>
                  <a:pt x="1376264" y="0"/>
                </a:moveTo>
                <a:lnTo>
                  <a:pt x="9507718" y="0"/>
                </a:lnTo>
                <a:cubicBezTo>
                  <a:pt x="9839929" y="0"/>
                  <a:pt x="10109240" y="269311"/>
                  <a:pt x="10109240" y="601522"/>
                </a:cubicBezTo>
                <a:lnTo>
                  <a:pt x="10109240" y="3742538"/>
                </a:lnTo>
                <a:cubicBezTo>
                  <a:pt x="10109240" y="4074749"/>
                  <a:pt x="9839929" y="4344060"/>
                  <a:pt x="9507718" y="4344060"/>
                </a:cubicBezTo>
                <a:lnTo>
                  <a:pt x="1718329" y="4344060"/>
                </a:lnTo>
                <a:lnTo>
                  <a:pt x="1627336" y="4465743"/>
                </a:lnTo>
                <a:cubicBezTo>
                  <a:pt x="1294863" y="4868607"/>
                  <a:pt x="791709" y="5125392"/>
                  <a:pt x="228579" y="5125392"/>
                </a:cubicBezTo>
                <a:cubicBezTo>
                  <a:pt x="166009" y="5125392"/>
                  <a:pt x="104180" y="5122222"/>
                  <a:pt x="43242" y="5116035"/>
                </a:cubicBezTo>
                <a:lnTo>
                  <a:pt x="0" y="5109434"/>
                </a:lnTo>
                <a:lnTo>
                  <a:pt x="136625" y="5007268"/>
                </a:lnTo>
                <a:cubicBezTo>
                  <a:pt x="438772" y="4757914"/>
                  <a:pt x="658751" y="4412550"/>
                  <a:pt x="749856" y="4017883"/>
                </a:cubicBezTo>
                <a:lnTo>
                  <a:pt x="783041" y="3824865"/>
                </a:lnTo>
                <a:lnTo>
                  <a:pt x="774742" y="3742538"/>
                </a:lnTo>
                <a:lnTo>
                  <a:pt x="774742" y="3338474"/>
                </a:lnTo>
                <a:lnTo>
                  <a:pt x="774742" y="1584122"/>
                </a:lnTo>
                <a:lnTo>
                  <a:pt x="774742" y="601522"/>
                </a:lnTo>
                <a:cubicBezTo>
                  <a:pt x="774742" y="269311"/>
                  <a:pt x="1044053" y="0"/>
                  <a:pt x="13762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B23BFED-5348-2543-8F79-F05228A3D928}"/>
              </a:ext>
            </a:extLst>
          </p:cNvPr>
          <p:cNvSpPr/>
          <p:nvPr/>
        </p:nvSpPr>
        <p:spPr>
          <a:xfrm>
            <a:off x="1385415" y="4618312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F11A50-4B53-4F43-8E4C-7CFC969F8F87}"/>
              </a:ext>
            </a:extLst>
          </p:cNvPr>
          <p:cNvSpPr/>
          <p:nvPr/>
        </p:nvSpPr>
        <p:spPr>
          <a:xfrm>
            <a:off x="1385415" y="2733204"/>
            <a:ext cx="5640870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7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  <a:endParaRPr lang="en-US" sz="7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06A153C-31EF-1447-A9B8-218EB07B9F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86153" y="271912"/>
            <a:ext cx="3189909" cy="6628786"/>
          </a:xfrm>
          <a:prstGeom prst="rect">
            <a:avLst/>
          </a:prstGeom>
        </p:spPr>
      </p:pic>
      <p:pic>
        <p:nvPicPr>
          <p:cNvPr id="15" name="Picture 2" descr="Image result for 24slides logo">
            <a:extLst>
              <a:ext uri="{FF2B5EF4-FFF2-40B4-BE49-F238E27FC236}">
                <a16:creationId xmlns:a16="http://schemas.microsoft.com/office/drawing/2014/main" id="{DED45416-4EB0-3D4C-8A07-CF813A395C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45"/>
          <a:stretch/>
        </p:blipFill>
        <p:spPr bwMode="auto">
          <a:xfrm>
            <a:off x="1385415" y="5854176"/>
            <a:ext cx="1013777" cy="33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191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3693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6003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310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F7D98B-1CA4-1245-8B8E-D5795AC0B7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027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reeform 28">
            <a:extLst>
              <a:ext uri="{FF2B5EF4-FFF2-40B4-BE49-F238E27FC236}">
                <a16:creationId xmlns:a16="http://schemas.microsoft.com/office/drawing/2014/main" id="{32E78E24-F809-CC41-9CE2-B1E8F60BD90D}"/>
              </a:ext>
            </a:extLst>
          </p:cNvPr>
          <p:cNvSpPr/>
          <p:nvPr/>
        </p:nvSpPr>
        <p:spPr>
          <a:xfrm rot="20369329" flipH="1">
            <a:off x="10249348" y="758214"/>
            <a:ext cx="2339187" cy="1845760"/>
          </a:xfrm>
          <a:custGeom>
            <a:avLst/>
            <a:gdLst>
              <a:gd name="connsiteX0" fmla="*/ 0 w 2339187"/>
              <a:gd name="connsiteY0" fmla="*/ 2800 h 1845760"/>
              <a:gd name="connsiteX1" fmla="*/ 666897 w 2339187"/>
              <a:gd name="connsiteY1" fmla="*/ 1785435 h 1845760"/>
              <a:gd name="connsiteX2" fmla="*/ 924723 w 2339187"/>
              <a:gd name="connsiteY2" fmla="*/ 1826875 h 1845760"/>
              <a:gd name="connsiteX3" fmla="*/ 1229462 w 2339187"/>
              <a:gd name="connsiteY3" fmla="*/ 1845650 h 1845760"/>
              <a:gd name="connsiteX4" fmla="*/ 1815983 w 2339187"/>
              <a:gd name="connsiteY4" fmla="*/ 1711883 h 1845760"/>
              <a:gd name="connsiteX5" fmla="*/ 2337978 w 2339187"/>
              <a:gd name="connsiteY5" fmla="*/ 828572 h 1845760"/>
              <a:gd name="connsiteX6" fmla="*/ 2275108 w 2339187"/>
              <a:gd name="connsiteY6" fmla="*/ 414566 h 1845760"/>
              <a:gd name="connsiteX7" fmla="*/ 1991360 w 2339187"/>
              <a:gd name="connsiteY7" fmla="*/ 90985 h 1845760"/>
              <a:gd name="connsiteX8" fmla="*/ 1423866 w 2339187"/>
              <a:gd name="connsiteY8" fmla="*/ 25969 h 1845760"/>
              <a:gd name="connsiteX9" fmla="*/ 918416 w 2339187"/>
              <a:gd name="connsiteY9" fmla="*/ 203080 h 1845760"/>
              <a:gd name="connsiteX10" fmla="*/ 838999 w 2339187"/>
              <a:gd name="connsiteY10" fmla="*/ 221015 h 1845760"/>
              <a:gd name="connsiteX11" fmla="*/ 331068 w 2339187"/>
              <a:gd name="connsiteY11" fmla="*/ 67818 h 1845760"/>
              <a:gd name="connsiteX12" fmla="*/ 84961 w 2339187"/>
              <a:gd name="connsiteY12" fmla="*/ 0 h 184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39187" h="1845760">
                <a:moveTo>
                  <a:pt x="0" y="2800"/>
                </a:moveTo>
                <a:lnTo>
                  <a:pt x="666897" y="1785435"/>
                </a:lnTo>
                <a:lnTo>
                  <a:pt x="924723" y="1826875"/>
                </a:lnTo>
                <a:cubicBezTo>
                  <a:pt x="1025751" y="1839298"/>
                  <a:pt x="1127296" y="1846772"/>
                  <a:pt x="1229462" y="1845650"/>
                </a:cubicBezTo>
                <a:cubicBezTo>
                  <a:pt x="1433793" y="1843409"/>
                  <a:pt x="1640606" y="1806044"/>
                  <a:pt x="1815983" y="1711883"/>
                </a:cubicBezTo>
                <a:cubicBezTo>
                  <a:pt x="2146883" y="1534026"/>
                  <a:pt x="2318951" y="1176068"/>
                  <a:pt x="2337978" y="828572"/>
                </a:cubicBezTo>
                <a:cubicBezTo>
                  <a:pt x="2343769" y="688079"/>
                  <a:pt x="2329705" y="546092"/>
                  <a:pt x="2275108" y="414566"/>
                </a:cubicBezTo>
                <a:cubicBezTo>
                  <a:pt x="2220508" y="283042"/>
                  <a:pt x="2123720" y="164220"/>
                  <a:pt x="1991360" y="90985"/>
                </a:cubicBezTo>
                <a:cubicBezTo>
                  <a:pt x="1824255" y="-186"/>
                  <a:pt x="1614961" y="-9901"/>
                  <a:pt x="1423866" y="25969"/>
                </a:cubicBezTo>
                <a:cubicBezTo>
                  <a:pt x="1246835" y="59598"/>
                  <a:pt x="1080557" y="130592"/>
                  <a:pt x="918416" y="203080"/>
                </a:cubicBezTo>
                <a:cubicBezTo>
                  <a:pt x="893598" y="214289"/>
                  <a:pt x="866299" y="220268"/>
                  <a:pt x="838999" y="221015"/>
                </a:cubicBezTo>
                <a:cubicBezTo>
                  <a:pt x="658659" y="234467"/>
                  <a:pt x="491553" y="144043"/>
                  <a:pt x="331068" y="67818"/>
                </a:cubicBezTo>
                <a:cubicBezTo>
                  <a:pt x="250824" y="29706"/>
                  <a:pt x="168306" y="6166"/>
                  <a:pt x="84961" y="0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F62A4C3A-EBD9-8E43-B7F7-4813EF66660E}"/>
              </a:ext>
            </a:extLst>
          </p:cNvPr>
          <p:cNvSpPr/>
          <p:nvPr/>
        </p:nvSpPr>
        <p:spPr>
          <a:xfrm rot="19218209" flipH="1">
            <a:off x="4667071" y="-41485"/>
            <a:ext cx="5485302" cy="3792497"/>
          </a:xfrm>
          <a:custGeom>
            <a:avLst/>
            <a:gdLst>
              <a:gd name="connsiteX0" fmla="*/ 1879596 w 5485302"/>
              <a:gd name="connsiteY0" fmla="*/ 202141 h 3792497"/>
              <a:gd name="connsiteX1" fmla="*/ 0 w 5485302"/>
              <a:gd name="connsiteY1" fmla="*/ 1762419 h 3792497"/>
              <a:gd name="connsiteX2" fmla="*/ 5804 w 5485302"/>
              <a:gd name="connsiteY2" fmla="*/ 1803532 h 3792497"/>
              <a:gd name="connsiteX3" fmla="*/ 148828 w 5485302"/>
              <a:gd name="connsiteY3" fmla="*/ 2312918 h 3792497"/>
              <a:gd name="connsiteX4" fmla="*/ 1029367 w 5485302"/>
              <a:gd name="connsiteY4" fmla="*/ 3252922 h 3792497"/>
              <a:gd name="connsiteX5" fmla="*/ 2280661 w 5485302"/>
              <a:gd name="connsiteY5" fmla="*/ 3653580 h 3792497"/>
              <a:gd name="connsiteX6" fmla="*/ 3413004 w 5485302"/>
              <a:gd name="connsiteY6" fmla="*/ 3792269 h 3792497"/>
              <a:gd name="connsiteX7" fmla="*/ 4508272 w 5485302"/>
              <a:gd name="connsiteY7" fmla="*/ 3516432 h 3792497"/>
              <a:gd name="connsiteX8" fmla="*/ 5483045 w 5485302"/>
              <a:gd name="connsiteY8" fmla="*/ 1694980 h 3792497"/>
              <a:gd name="connsiteX9" fmla="*/ 5365640 w 5485302"/>
              <a:gd name="connsiteY9" fmla="*/ 841270 h 3792497"/>
              <a:gd name="connsiteX10" fmla="*/ 4835772 w 5485302"/>
              <a:gd name="connsiteY10" fmla="*/ 174021 h 3792497"/>
              <a:gd name="connsiteX11" fmla="*/ 3776034 w 5485302"/>
              <a:gd name="connsiteY11" fmla="*/ 39954 h 3792497"/>
              <a:gd name="connsiteX12" fmla="*/ 2832157 w 5485302"/>
              <a:gd name="connsiteY12" fmla="*/ 405169 h 3792497"/>
              <a:gd name="connsiteX13" fmla="*/ 2683855 w 5485302"/>
              <a:gd name="connsiteY13" fmla="*/ 442153 h 3792497"/>
              <a:gd name="connsiteX14" fmla="*/ 1962624 w 5485302"/>
              <a:gd name="connsiteY14" fmla="*/ 245821 h 379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485302" h="3792497">
                <a:moveTo>
                  <a:pt x="1879596" y="202141"/>
                </a:moveTo>
                <a:lnTo>
                  <a:pt x="0" y="1762419"/>
                </a:lnTo>
                <a:lnTo>
                  <a:pt x="5804" y="1803532"/>
                </a:lnTo>
                <a:cubicBezTo>
                  <a:pt x="35937" y="1970889"/>
                  <a:pt x="85105" y="2138978"/>
                  <a:pt x="148828" y="2312918"/>
                </a:cubicBezTo>
                <a:cubicBezTo>
                  <a:pt x="298674" y="2724363"/>
                  <a:pt x="641622" y="3046430"/>
                  <a:pt x="1029367" y="3252922"/>
                </a:cubicBezTo>
                <a:cubicBezTo>
                  <a:pt x="1417114" y="3459416"/>
                  <a:pt x="1849660" y="3565744"/>
                  <a:pt x="2280661" y="3653580"/>
                </a:cubicBezTo>
                <a:cubicBezTo>
                  <a:pt x="2654504" y="3730630"/>
                  <a:pt x="3031437" y="3796892"/>
                  <a:pt x="3413004" y="3792269"/>
                </a:cubicBezTo>
                <a:cubicBezTo>
                  <a:pt x="3794571" y="3787647"/>
                  <a:pt x="4180773" y="3710597"/>
                  <a:pt x="4508272" y="3516432"/>
                </a:cubicBezTo>
                <a:cubicBezTo>
                  <a:pt x="5126195" y="3149676"/>
                  <a:pt x="5447514" y="2411541"/>
                  <a:pt x="5483045" y="1694980"/>
                </a:cubicBezTo>
                <a:cubicBezTo>
                  <a:pt x="5493859" y="1405273"/>
                  <a:pt x="5467597" y="1112484"/>
                  <a:pt x="5365640" y="841270"/>
                </a:cubicBezTo>
                <a:cubicBezTo>
                  <a:pt x="5263682" y="570056"/>
                  <a:pt x="5082940" y="325038"/>
                  <a:pt x="4835772" y="174021"/>
                </a:cubicBezTo>
                <a:cubicBezTo>
                  <a:pt x="4523720" y="-13980"/>
                  <a:pt x="4132884" y="-34013"/>
                  <a:pt x="3776034" y="39954"/>
                </a:cubicBezTo>
                <a:cubicBezTo>
                  <a:pt x="3445445" y="109299"/>
                  <a:pt x="3134939" y="255693"/>
                  <a:pt x="2832157" y="405169"/>
                </a:cubicBezTo>
                <a:cubicBezTo>
                  <a:pt x="2785813" y="428284"/>
                  <a:pt x="2734834" y="440612"/>
                  <a:pt x="2683855" y="442153"/>
                </a:cubicBezTo>
                <a:cubicBezTo>
                  <a:pt x="2431279" y="462957"/>
                  <a:pt x="2192607" y="363274"/>
                  <a:pt x="1962624" y="245821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7F98CB4E-F57C-4347-B1E5-BA971C80AC3B}"/>
              </a:ext>
            </a:extLst>
          </p:cNvPr>
          <p:cNvSpPr/>
          <p:nvPr/>
        </p:nvSpPr>
        <p:spPr>
          <a:xfrm>
            <a:off x="5429250" y="1204256"/>
            <a:ext cx="6762750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265DEE-65AB-1846-822F-97E8440C25D6}"/>
              </a:ext>
            </a:extLst>
          </p:cNvPr>
          <p:cNvSpPr/>
          <p:nvPr/>
        </p:nvSpPr>
        <p:spPr>
          <a:xfrm>
            <a:off x="1086501" y="3462936"/>
            <a:ext cx="3054354" cy="14773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A258509-23F4-FD46-B859-BDE764DE017A}"/>
              </a:ext>
            </a:extLst>
          </p:cNvPr>
          <p:cNvSpPr/>
          <p:nvPr/>
        </p:nvSpPr>
        <p:spPr>
          <a:xfrm>
            <a:off x="5906813" y="1617321"/>
            <a:ext cx="2406732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89B2F1-5010-2A48-A073-9905BBB26DE8}"/>
              </a:ext>
            </a:extLst>
          </p:cNvPr>
          <p:cNvSpPr/>
          <p:nvPr/>
        </p:nvSpPr>
        <p:spPr>
          <a:xfrm>
            <a:off x="5906813" y="1617322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9FA9B5-FC40-2240-BEA3-EC661EC3E63D}"/>
              </a:ext>
            </a:extLst>
          </p:cNvPr>
          <p:cNvSpPr/>
          <p:nvPr/>
        </p:nvSpPr>
        <p:spPr>
          <a:xfrm flipH="1">
            <a:off x="6059511" y="1733018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007BB8-8EEC-9B40-91C4-79ED17C1F40F}"/>
              </a:ext>
            </a:extLst>
          </p:cNvPr>
          <p:cNvSpPr/>
          <p:nvPr/>
        </p:nvSpPr>
        <p:spPr>
          <a:xfrm>
            <a:off x="6840561" y="1792403"/>
            <a:ext cx="114905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8704C626-F312-A046-9670-BA25DEA77A1D}"/>
              </a:ext>
            </a:extLst>
          </p:cNvPr>
          <p:cNvSpPr/>
          <p:nvPr/>
        </p:nvSpPr>
        <p:spPr>
          <a:xfrm>
            <a:off x="5906813" y="2564757"/>
            <a:ext cx="2406732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AA13700-DCAF-A14A-B27B-17DBC2780C49}"/>
              </a:ext>
            </a:extLst>
          </p:cNvPr>
          <p:cNvSpPr/>
          <p:nvPr/>
        </p:nvSpPr>
        <p:spPr>
          <a:xfrm>
            <a:off x="5906813" y="2564758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33CAD4-0AD0-1E4C-B9F9-4585468A8504}"/>
              </a:ext>
            </a:extLst>
          </p:cNvPr>
          <p:cNvSpPr/>
          <p:nvPr/>
        </p:nvSpPr>
        <p:spPr>
          <a:xfrm flipH="1">
            <a:off x="6059511" y="2680454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b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661D674-2627-6744-8AA9-432826331723}"/>
              </a:ext>
            </a:extLst>
          </p:cNvPr>
          <p:cNvSpPr/>
          <p:nvPr/>
        </p:nvSpPr>
        <p:spPr>
          <a:xfrm>
            <a:off x="6840561" y="2739839"/>
            <a:ext cx="114905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7A04CF7-04B0-264D-A2E7-5E44311A5782}"/>
              </a:ext>
            </a:extLst>
          </p:cNvPr>
          <p:cNvSpPr/>
          <p:nvPr/>
        </p:nvSpPr>
        <p:spPr>
          <a:xfrm>
            <a:off x="5906813" y="3512193"/>
            <a:ext cx="2406732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ED47B66-2912-E546-B270-6A556BFCA754}"/>
              </a:ext>
            </a:extLst>
          </p:cNvPr>
          <p:cNvSpPr/>
          <p:nvPr/>
        </p:nvSpPr>
        <p:spPr>
          <a:xfrm>
            <a:off x="5906813" y="3512194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A6E57EB-89EF-CE43-830A-242709AC10C5}"/>
              </a:ext>
            </a:extLst>
          </p:cNvPr>
          <p:cNvSpPr/>
          <p:nvPr/>
        </p:nvSpPr>
        <p:spPr>
          <a:xfrm flipH="1">
            <a:off x="6059511" y="3627890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c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69744C-D2A2-1048-BB34-DFBAE173C88E}"/>
              </a:ext>
            </a:extLst>
          </p:cNvPr>
          <p:cNvSpPr/>
          <p:nvPr/>
        </p:nvSpPr>
        <p:spPr>
          <a:xfrm>
            <a:off x="6840561" y="3687275"/>
            <a:ext cx="114905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22E6A725-3842-8749-A7FE-CBF25AD30328}"/>
              </a:ext>
            </a:extLst>
          </p:cNvPr>
          <p:cNvSpPr/>
          <p:nvPr/>
        </p:nvSpPr>
        <p:spPr>
          <a:xfrm>
            <a:off x="5906813" y="4459628"/>
            <a:ext cx="2406732" cy="78105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9FA1C08-779A-7E4A-909B-DE82E4A9ADD4}"/>
              </a:ext>
            </a:extLst>
          </p:cNvPr>
          <p:cNvSpPr/>
          <p:nvPr/>
        </p:nvSpPr>
        <p:spPr>
          <a:xfrm>
            <a:off x="5906813" y="4459629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6D42338-A7B7-524C-9F37-03D24F1C9A78}"/>
              </a:ext>
            </a:extLst>
          </p:cNvPr>
          <p:cNvSpPr/>
          <p:nvPr/>
        </p:nvSpPr>
        <p:spPr>
          <a:xfrm flipH="1">
            <a:off x="6059511" y="4575325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d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2B2716B-848C-0040-AE82-1210087C95EC}"/>
              </a:ext>
            </a:extLst>
          </p:cNvPr>
          <p:cNvSpPr/>
          <p:nvPr/>
        </p:nvSpPr>
        <p:spPr>
          <a:xfrm>
            <a:off x="6840561" y="4634710"/>
            <a:ext cx="114905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Pie 39">
            <a:extLst>
              <a:ext uri="{FF2B5EF4-FFF2-40B4-BE49-F238E27FC236}">
                <a16:creationId xmlns:a16="http://schemas.microsoft.com/office/drawing/2014/main" id="{9717E716-CCCD-F24A-A461-8633E97BCC4F}"/>
              </a:ext>
            </a:extLst>
          </p:cNvPr>
          <p:cNvSpPr/>
          <p:nvPr/>
        </p:nvSpPr>
        <p:spPr>
          <a:xfrm flipV="1">
            <a:off x="1177552" y="6553626"/>
            <a:ext cx="608652" cy="304374"/>
          </a:xfrm>
          <a:custGeom>
            <a:avLst/>
            <a:gdLst>
              <a:gd name="connsiteX0" fmla="*/ 928803 w 928803"/>
              <a:gd name="connsiteY0" fmla="*/ 464402 h 928803"/>
              <a:gd name="connsiteX1" fmla="*/ 470202 w 928803"/>
              <a:gd name="connsiteY1" fmla="*/ 928768 h 928803"/>
              <a:gd name="connsiteX2" fmla="*/ 144 w 928803"/>
              <a:gd name="connsiteY2" fmla="*/ 476004 h 928803"/>
              <a:gd name="connsiteX3" fmla="*/ 464402 w 928803"/>
              <a:gd name="connsiteY3" fmla="*/ 464402 h 928803"/>
              <a:gd name="connsiteX4" fmla="*/ 928803 w 928803"/>
              <a:gd name="connsiteY4" fmla="*/ 464402 h 928803"/>
              <a:gd name="connsiteX0" fmla="*/ 464258 w 928659"/>
              <a:gd name="connsiteY0" fmla="*/ 0 h 464402"/>
              <a:gd name="connsiteX1" fmla="*/ 928659 w 928659"/>
              <a:gd name="connsiteY1" fmla="*/ 0 h 464402"/>
              <a:gd name="connsiteX2" fmla="*/ 470058 w 928659"/>
              <a:gd name="connsiteY2" fmla="*/ 464366 h 464402"/>
              <a:gd name="connsiteX3" fmla="*/ 0 w 928659"/>
              <a:gd name="connsiteY3" fmla="*/ 11602 h 464402"/>
              <a:gd name="connsiteX4" fmla="*/ 555698 w 928659"/>
              <a:gd name="connsiteY4" fmla="*/ 91440 h 464402"/>
              <a:gd name="connsiteX0" fmla="*/ 464258 w 928659"/>
              <a:gd name="connsiteY0" fmla="*/ 0 h 464402"/>
              <a:gd name="connsiteX1" fmla="*/ 928659 w 928659"/>
              <a:gd name="connsiteY1" fmla="*/ 0 h 464402"/>
              <a:gd name="connsiteX2" fmla="*/ 470058 w 928659"/>
              <a:gd name="connsiteY2" fmla="*/ 464366 h 464402"/>
              <a:gd name="connsiteX3" fmla="*/ 0 w 928659"/>
              <a:gd name="connsiteY3" fmla="*/ 11602 h 464402"/>
              <a:gd name="connsiteX0" fmla="*/ 928659 w 928659"/>
              <a:gd name="connsiteY0" fmla="*/ 0 h 464402"/>
              <a:gd name="connsiteX1" fmla="*/ 470058 w 928659"/>
              <a:gd name="connsiteY1" fmla="*/ 464366 h 464402"/>
              <a:gd name="connsiteX2" fmla="*/ 0 w 928659"/>
              <a:gd name="connsiteY2" fmla="*/ 11602 h 46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8659" h="464402">
                <a:moveTo>
                  <a:pt x="928659" y="0"/>
                </a:moveTo>
                <a:cubicBezTo>
                  <a:pt x="928659" y="254220"/>
                  <a:pt x="724258" y="461190"/>
                  <a:pt x="470058" y="464366"/>
                </a:cubicBezTo>
                <a:cubicBezTo>
                  <a:pt x="215858" y="467542"/>
                  <a:pt x="6351" y="265742"/>
                  <a:pt x="0" y="11602"/>
                </a:cubicBezTo>
              </a:path>
            </a:pathLst>
          </a:cu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9760F189-7859-FD40-A578-D99052587F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37127" y="1304925"/>
            <a:ext cx="3038935" cy="4348820"/>
          </a:xfrm>
          <a:prstGeom prst="rect">
            <a:avLst/>
          </a:prstGeom>
        </p:spPr>
      </p:pic>
      <p:sp>
        <p:nvSpPr>
          <p:cNvPr id="43" name="Freeform 178">
            <a:extLst>
              <a:ext uri="{FF2B5EF4-FFF2-40B4-BE49-F238E27FC236}">
                <a16:creationId xmlns:a16="http://schemas.microsoft.com/office/drawing/2014/main" id="{3318BCE9-2E81-6F43-A51C-313D3927F033}"/>
              </a:ext>
            </a:extLst>
          </p:cNvPr>
          <p:cNvSpPr>
            <a:spLocks noEditPoints="1"/>
          </p:cNvSpPr>
          <p:nvPr/>
        </p:nvSpPr>
        <p:spPr bwMode="auto">
          <a:xfrm>
            <a:off x="1002472" y="1817271"/>
            <a:ext cx="958813" cy="1056558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58 w 87"/>
              <a:gd name="T35" fmla="*/ 31 h 96"/>
              <a:gd name="T36" fmla="*/ 35 w 87"/>
              <a:gd name="T37" fmla="*/ 66 h 96"/>
              <a:gd name="T38" fmla="*/ 33 w 87"/>
              <a:gd name="T39" fmla="*/ 67 h 96"/>
              <a:gd name="T40" fmla="*/ 32 w 87"/>
              <a:gd name="T41" fmla="*/ 67 h 96"/>
              <a:gd name="T42" fmla="*/ 31 w 87"/>
              <a:gd name="T43" fmla="*/ 64 h 96"/>
              <a:gd name="T44" fmla="*/ 35 w 87"/>
              <a:gd name="T45" fmla="*/ 44 h 96"/>
              <a:gd name="T46" fmla="*/ 27 w 87"/>
              <a:gd name="T47" fmla="*/ 44 h 96"/>
              <a:gd name="T48" fmla="*/ 25 w 87"/>
              <a:gd name="T49" fmla="*/ 43 h 96"/>
              <a:gd name="T50" fmla="*/ 25 w 87"/>
              <a:gd name="T51" fmla="*/ 41 h 96"/>
              <a:gd name="T52" fmla="*/ 37 w 87"/>
              <a:gd name="T53" fmla="*/ 13 h 96"/>
              <a:gd name="T54" fmla="*/ 38 w 87"/>
              <a:gd name="T55" fmla="*/ 12 h 96"/>
              <a:gd name="T56" fmla="*/ 53 w 87"/>
              <a:gd name="T57" fmla="*/ 12 h 96"/>
              <a:gd name="T58" fmla="*/ 54 w 87"/>
              <a:gd name="T59" fmla="*/ 13 h 96"/>
              <a:gd name="T60" fmla="*/ 54 w 87"/>
              <a:gd name="T61" fmla="*/ 15 h 96"/>
              <a:gd name="T62" fmla="*/ 49 w 87"/>
              <a:gd name="T63" fmla="*/ 28 h 96"/>
              <a:gd name="T64" fmla="*/ 56 w 87"/>
              <a:gd name="T65" fmla="*/ 28 h 96"/>
              <a:gd name="T66" fmla="*/ 58 w 87"/>
              <a:gd name="T67" fmla="*/ 29 h 96"/>
              <a:gd name="T68" fmla="*/ 58 w 87"/>
              <a:gd name="T69" fmla="*/ 31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58" y="31"/>
                </a:move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4" y="67"/>
                  <a:pt x="33" y="67"/>
                </a:cubicBezTo>
                <a:cubicBezTo>
                  <a:pt x="33" y="67"/>
                  <a:pt x="33" y="67"/>
                  <a:pt x="32" y="67"/>
                </a:cubicBezTo>
                <a:cubicBezTo>
                  <a:pt x="32" y="66"/>
                  <a:pt x="31" y="65"/>
                  <a:pt x="31" y="64"/>
                </a:cubicBezTo>
                <a:cubicBezTo>
                  <a:pt x="35" y="44"/>
                  <a:pt x="35" y="44"/>
                  <a:pt x="35" y="44"/>
                </a:cubicBezTo>
                <a:cubicBezTo>
                  <a:pt x="27" y="44"/>
                  <a:pt x="27" y="44"/>
                  <a:pt x="27" y="44"/>
                </a:cubicBezTo>
                <a:cubicBezTo>
                  <a:pt x="26" y="44"/>
                  <a:pt x="26" y="44"/>
                  <a:pt x="25" y="43"/>
                </a:cubicBezTo>
                <a:cubicBezTo>
                  <a:pt x="25" y="43"/>
                  <a:pt x="25" y="42"/>
                  <a:pt x="25" y="41"/>
                </a:cubicBezTo>
                <a:cubicBezTo>
                  <a:pt x="37" y="13"/>
                  <a:pt x="37" y="13"/>
                  <a:pt x="37" y="13"/>
                </a:cubicBezTo>
                <a:cubicBezTo>
                  <a:pt x="37" y="12"/>
                  <a:pt x="38" y="12"/>
                  <a:pt x="38" y="12"/>
                </a:cubicBezTo>
                <a:cubicBezTo>
                  <a:pt x="53" y="12"/>
                  <a:pt x="53" y="12"/>
                  <a:pt x="53" y="12"/>
                </a:cubicBezTo>
                <a:cubicBezTo>
                  <a:pt x="53" y="12"/>
                  <a:pt x="54" y="12"/>
                  <a:pt x="54" y="13"/>
                </a:cubicBezTo>
                <a:cubicBezTo>
                  <a:pt x="55" y="13"/>
                  <a:pt x="55" y="14"/>
                  <a:pt x="54" y="15"/>
                </a:cubicBezTo>
                <a:cubicBezTo>
                  <a:pt x="49" y="28"/>
                  <a:pt x="49" y="28"/>
                  <a:pt x="49" y="28"/>
                </a:cubicBezTo>
                <a:cubicBezTo>
                  <a:pt x="56" y="28"/>
                  <a:pt x="56" y="28"/>
                  <a:pt x="56" y="28"/>
                </a:cubicBezTo>
                <a:cubicBezTo>
                  <a:pt x="57" y="28"/>
                  <a:pt x="58" y="28"/>
                  <a:pt x="58" y="29"/>
                </a:cubicBezTo>
                <a:cubicBezTo>
                  <a:pt x="58" y="30"/>
                  <a:pt x="58" y="30"/>
                  <a:pt x="58" y="3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0793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4620BF-FA49-FA4E-B0A6-0E86590959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217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>
            <a:extLst>
              <a:ext uri="{FF2B5EF4-FFF2-40B4-BE49-F238E27FC236}">
                <a16:creationId xmlns:a16="http://schemas.microsoft.com/office/drawing/2014/main" id="{A671CF9A-B926-7647-85C2-27E1151E8732}"/>
              </a:ext>
            </a:extLst>
          </p:cNvPr>
          <p:cNvSpPr/>
          <p:nvPr/>
        </p:nvSpPr>
        <p:spPr>
          <a:xfrm rot="19501232" flipH="1">
            <a:off x="10226083" y="3530237"/>
            <a:ext cx="2662094" cy="1847385"/>
          </a:xfrm>
          <a:custGeom>
            <a:avLst/>
            <a:gdLst>
              <a:gd name="connsiteX0" fmla="*/ 21904 w 2662094"/>
              <a:gd name="connsiteY0" fmla="*/ 110043 h 1847385"/>
              <a:gd name="connsiteX1" fmla="*/ 0 w 2662094"/>
              <a:gd name="connsiteY1" fmla="*/ 128739 h 1847385"/>
              <a:gd name="connsiteX2" fmla="*/ 1181884 w 2662094"/>
              <a:gd name="connsiteY2" fmla="*/ 1817932 h 1847385"/>
              <a:gd name="connsiteX3" fmla="*/ 1247631 w 2662094"/>
              <a:gd name="connsiteY3" fmla="*/ 1828500 h 1847385"/>
              <a:gd name="connsiteX4" fmla="*/ 1552370 w 2662094"/>
              <a:gd name="connsiteY4" fmla="*/ 1847275 h 1847385"/>
              <a:gd name="connsiteX5" fmla="*/ 2138890 w 2662094"/>
              <a:gd name="connsiteY5" fmla="*/ 1713508 h 1847385"/>
              <a:gd name="connsiteX6" fmla="*/ 2660886 w 2662094"/>
              <a:gd name="connsiteY6" fmla="*/ 830197 h 1847385"/>
              <a:gd name="connsiteX7" fmla="*/ 2598015 w 2662094"/>
              <a:gd name="connsiteY7" fmla="*/ 416191 h 1847385"/>
              <a:gd name="connsiteX8" fmla="*/ 2314269 w 2662094"/>
              <a:gd name="connsiteY8" fmla="*/ 92609 h 1847385"/>
              <a:gd name="connsiteX9" fmla="*/ 1746774 w 2662094"/>
              <a:gd name="connsiteY9" fmla="*/ 27594 h 1847385"/>
              <a:gd name="connsiteX10" fmla="*/ 1241324 w 2662094"/>
              <a:gd name="connsiteY10" fmla="*/ 204705 h 1847385"/>
              <a:gd name="connsiteX11" fmla="*/ 1161908 w 2662094"/>
              <a:gd name="connsiteY11" fmla="*/ 222640 h 1847385"/>
              <a:gd name="connsiteX12" fmla="*/ 653975 w 2662094"/>
              <a:gd name="connsiteY12" fmla="*/ 69443 h 1847385"/>
              <a:gd name="connsiteX13" fmla="*/ 156798 w 2662094"/>
              <a:gd name="connsiteY13" fmla="*/ 38056 h 1847385"/>
              <a:gd name="connsiteX14" fmla="*/ 21904 w 2662094"/>
              <a:gd name="connsiteY14" fmla="*/ 110043 h 18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62094" h="1847385">
                <a:moveTo>
                  <a:pt x="21904" y="110043"/>
                </a:moveTo>
                <a:lnTo>
                  <a:pt x="0" y="128739"/>
                </a:lnTo>
                <a:lnTo>
                  <a:pt x="1181884" y="1817932"/>
                </a:lnTo>
                <a:lnTo>
                  <a:pt x="1247631" y="1828500"/>
                </a:lnTo>
                <a:cubicBezTo>
                  <a:pt x="1348659" y="1840923"/>
                  <a:pt x="1450204" y="1848396"/>
                  <a:pt x="1552370" y="1847275"/>
                </a:cubicBezTo>
                <a:cubicBezTo>
                  <a:pt x="1756701" y="1845034"/>
                  <a:pt x="1963514" y="1807669"/>
                  <a:pt x="2138890" y="1713508"/>
                </a:cubicBezTo>
                <a:cubicBezTo>
                  <a:pt x="2469792" y="1535651"/>
                  <a:pt x="2641859" y="1177693"/>
                  <a:pt x="2660886" y="830197"/>
                </a:cubicBezTo>
                <a:cubicBezTo>
                  <a:pt x="2666677" y="689704"/>
                  <a:pt x="2652613" y="547717"/>
                  <a:pt x="2598015" y="416191"/>
                </a:cubicBezTo>
                <a:cubicBezTo>
                  <a:pt x="2543417" y="284666"/>
                  <a:pt x="2446628" y="165845"/>
                  <a:pt x="2314269" y="92609"/>
                </a:cubicBezTo>
                <a:cubicBezTo>
                  <a:pt x="2147164" y="1439"/>
                  <a:pt x="1937869" y="-8276"/>
                  <a:pt x="1746774" y="27594"/>
                </a:cubicBezTo>
                <a:cubicBezTo>
                  <a:pt x="1569742" y="61223"/>
                  <a:pt x="1403465" y="132216"/>
                  <a:pt x="1241324" y="204705"/>
                </a:cubicBezTo>
                <a:cubicBezTo>
                  <a:pt x="1216506" y="215915"/>
                  <a:pt x="1189207" y="221893"/>
                  <a:pt x="1161908" y="222640"/>
                </a:cubicBezTo>
                <a:cubicBezTo>
                  <a:pt x="981567" y="236092"/>
                  <a:pt x="814462" y="145668"/>
                  <a:pt x="653975" y="69443"/>
                </a:cubicBezTo>
                <a:cubicBezTo>
                  <a:pt x="493489" y="-6782"/>
                  <a:pt x="323903" y="-24717"/>
                  <a:pt x="156798" y="38056"/>
                </a:cubicBezTo>
                <a:cubicBezTo>
                  <a:pt x="111092" y="55245"/>
                  <a:pt x="65438" y="79952"/>
                  <a:pt x="21904" y="110043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012AAB7F-2735-5D43-82BE-6614ED07359E}"/>
              </a:ext>
            </a:extLst>
          </p:cNvPr>
          <p:cNvSpPr/>
          <p:nvPr/>
        </p:nvSpPr>
        <p:spPr>
          <a:xfrm>
            <a:off x="707758" y="0"/>
            <a:ext cx="10776486" cy="4775108"/>
          </a:xfrm>
          <a:custGeom>
            <a:avLst/>
            <a:gdLst>
              <a:gd name="connsiteX0" fmla="*/ 0 w 10776486"/>
              <a:gd name="connsiteY0" fmla="*/ 0 h 4775108"/>
              <a:gd name="connsiteX1" fmla="*/ 10776486 w 10776486"/>
              <a:gd name="connsiteY1" fmla="*/ 0 h 4775108"/>
              <a:gd name="connsiteX2" fmla="*/ 10776486 w 10776486"/>
              <a:gd name="connsiteY2" fmla="*/ 4332983 h 4775108"/>
              <a:gd name="connsiteX3" fmla="*/ 10334361 w 10776486"/>
              <a:gd name="connsiteY3" fmla="*/ 4775108 h 4775108"/>
              <a:gd name="connsiteX4" fmla="*/ 442125 w 10776486"/>
              <a:gd name="connsiteY4" fmla="*/ 4775108 h 4775108"/>
              <a:gd name="connsiteX5" fmla="*/ 0 w 10776486"/>
              <a:gd name="connsiteY5" fmla="*/ 4332983 h 4775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6486" h="4775108">
                <a:moveTo>
                  <a:pt x="0" y="0"/>
                </a:moveTo>
                <a:lnTo>
                  <a:pt x="10776486" y="0"/>
                </a:lnTo>
                <a:lnTo>
                  <a:pt x="10776486" y="4332983"/>
                </a:lnTo>
                <a:cubicBezTo>
                  <a:pt x="10776486" y="4577162"/>
                  <a:pt x="10578540" y="4775108"/>
                  <a:pt x="10334361" y="4775108"/>
                </a:cubicBezTo>
                <a:lnTo>
                  <a:pt x="442125" y="4775108"/>
                </a:lnTo>
                <a:cubicBezTo>
                  <a:pt x="197946" y="4775108"/>
                  <a:pt x="0" y="4577162"/>
                  <a:pt x="0" y="433298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0A11DB4B-3F03-034E-999B-2B38E52BFBB3}"/>
              </a:ext>
            </a:extLst>
          </p:cNvPr>
          <p:cNvSpPr/>
          <p:nvPr/>
        </p:nvSpPr>
        <p:spPr>
          <a:xfrm rot="1754024" flipH="1">
            <a:off x="-552942" y="826672"/>
            <a:ext cx="7222886" cy="4735629"/>
          </a:xfrm>
          <a:custGeom>
            <a:avLst/>
            <a:gdLst>
              <a:gd name="connsiteX0" fmla="*/ 7222886 w 7222886"/>
              <a:gd name="connsiteY0" fmla="*/ 728236 h 4735629"/>
              <a:gd name="connsiteX1" fmla="*/ 6245252 w 7222886"/>
              <a:gd name="connsiteY1" fmla="*/ 181099 h 4735629"/>
              <a:gd name="connsiteX2" fmla="*/ 6141870 w 7222886"/>
              <a:gd name="connsiteY2" fmla="*/ 211631 h 4735629"/>
              <a:gd name="connsiteX3" fmla="*/ 4930442 w 7222886"/>
              <a:gd name="connsiteY3" fmla="*/ 731033 h 4735629"/>
              <a:gd name="connsiteX4" fmla="*/ 4673608 w 7222886"/>
              <a:gd name="connsiteY4" fmla="*/ 795083 h 4735629"/>
              <a:gd name="connsiteX5" fmla="*/ 3030948 w 7222886"/>
              <a:gd name="connsiteY5" fmla="*/ 247993 h 4735629"/>
              <a:gd name="connsiteX6" fmla="*/ 1423067 w 7222886"/>
              <a:gd name="connsiteY6" fmla="*/ 135906 h 4735629"/>
              <a:gd name="connsiteX7" fmla="*/ 85395 w 7222886"/>
              <a:gd name="connsiteY7" fmla="*/ 1673098 h 4735629"/>
              <a:gd name="connsiteX8" fmla="*/ 21151 w 7222886"/>
              <a:gd name="connsiteY8" fmla="*/ 1979163 h 4735629"/>
              <a:gd name="connsiteX9" fmla="*/ 0 w 7222886"/>
              <a:gd name="connsiteY9" fmla="*/ 2157978 h 4735629"/>
              <a:gd name="connsiteX10" fmla="*/ 4505036 w 7222886"/>
              <a:gd name="connsiteY10" fmla="*/ 4679239 h 4735629"/>
              <a:gd name="connsiteX11" fmla="*/ 5106772 w 7222886"/>
              <a:gd name="connsiteY11" fmla="*/ 4509347 h 4735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22886" h="4735629">
                <a:moveTo>
                  <a:pt x="7222886" y="728236"/>
                </a:moveTo>
                <a:lnTo>
                  <a:pt x="6245252" y="181099"/>
                </a:lnTo>
                <a:lnTo>
                  <a:pt x="6141870" y="211631"/>
                </a:lnTo>
                <a:cubicBezTo>
                  <a:pt x="5724516" y="345735"/>
                  <a:pt x="5323717" y="536883"/>
                  <a:pt x="4930442" y="731033"/>
                </a:cubicBezTo>
                <a:cubicBezTo>
                  <a:pt x="4850181" y="771065"/>
                  <a:pt x="4761895" y="792414"/>
                  <a:pt x="4673608" y="795083"/>
                </a:cubicBezTo>
                <a:cubicBezTo>
                  <a:pt x="4090383" y="843121"/>
                  <a:pt x="3549964" y="520204"/>
                  <a:pt x="3030948" y="247993"/>
                </a:cubicBezTo>
                <a:cubicBezTo>
                  <a:pt x="2511932" y="-24219"/>
                  <a:pt x="1963487" y="-88269"/>
                  <a:pt x="1423067" y="135906"/>
                </a:cubicBezTo>
                <a:cubicBezTo>
                  <a:pt x="831817" y="381429"/>
                  <a:pt x="243241" y="1056619"/>
                  <a:pt x="85395" y="1673098"/>
                </a:cubicBezTo>
                <a:cubicBezTo>
                  <a:pt x="58976" y="1776511"/>
                  <a:pt x="37657" y="1878424"/>
                  <a:pt x="21151" y="1979163"/>
                </a:cubicBezTo>
                <a:lnTo>
                  <a:pt x="0" y="2157978"/>
                </a:lnTo>
                <a:lnTo>
                  <a:pt x="4505036" y="4679239"/>
                </a:lnTo>
                <a:cubicBezTo>
                  <a:pt x="4718115" y="4798489"/>
                  <a:pt x="4987521" y="4722426"/>
                  <a:pt x="5106772" y="4509347"/>
                </a:cubicBezTo>
                <a:close/>
              </a:path>
            </a:pathLst>
          </a:custGeom>
          <a:pattFill prst="pct10">
            <a:fgClr>
              <a:schemeClr val="accent2">
                <a:lumMod val="40000"/>
                <a:lumOff val="60000"/>
              </a:schemeClr>
            </a:fgClr>
            <a:bgClr>
              <a:srgbClr val="8446EC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5A8A9A8D-419B-964E-BD67-CBC7D440E9A4}"/>
              </a:ext>
            </a:extLst>
          </p:cNvPr>
          <p:cNvSpPr/>
          <p:nvPr/>
        </p:nvSpPr>
        <p:spPr>
          <a:xfrm rot="1754024" flipH="1">
            <a:off x="-490796" y="-160085"/>
            <a:ext cx="4827014" cy="3332957"/>
          </a:xfrm>
          <a:custGeom>
            <a:avLst/>
            <a:gdLst>
              <a:gd name="connsiteX0" fmla="*/ 4827014 w 4827014"/>
              <a:gd name="connsiteY0" fmla="*/ 1290950 h 3332957"/>
              <a:gd name="connsiteX1" fmla="*/ 2997951 w 4827014"/>
              <a:gd name="connsiteY1" fmla="*/ 267308 h 3332957"/>
              <a:gd name="connsiteX2" fmla="*/ 2984275 w 4827014"/>
              <a:gd name="connsiteY2" fmla="*/ 272750 h 3332957"/>
              <a:gd name="connsiteX3" fmla="*/ 2763294 w 4827014"/>
              <a:gd name="connsiteY3" fmla="*/ 369318 h 3332957"/>
              <a:gd name="connsiteX4" fmla="*/ 2620015 w 4827014"/>
              <a:gd name="connsiteY4" fmla="*/ 401676 h 3332957"/>
              <a:gd name="connsiteX5" fmla="*/ 1703630 w 4827014"/>
              <a:gd name="connsiteY5" fmla="*/ 125286 h 3332957"/>
              <a:gd name="connsiteX6" fmla="*/ 806648 w 4827014"/>
              <a:gd name="connsiteY6" fmla="*/ 68660 h 3332957"/>
              <a:gd name="connsiteX7" fmla="*/ 60407 w 4827014"/>
              <a:gd name="connsiteY7" fmla="*/ 845248 h 3332957"/>
              <a:gd name="connsiteX8" fmla="*/ 170850 w 4827014"/>
              <a:gd name="connsiteY8" fmla="*/ 2038445 h 3332957"/>
              <a:gd name="connsiteX9" fmla="*/ 1021566 w 4827014"/>
              <a:gd name="connsiteY9" fmla="*/ 2860873 h 3332957"/>
              <a:gd name="connsiteX10" fmla="*/ 2230477 w 4827014"/>
              <a:gd name="connsiteY10" fmla="*/ 3211417 h 3332957"/>
              <a:gd name="connsiteX11" fmla="*/ 3324468 w 4827014"/>
              <a:gd name="connsiteY11" fmla="*/ 3332758 h 3332957"/>
              <a:gd name="connsiteX12" fmla="*/ 3600834 w 4827014"/>
              <a:gd name="connsiteY12" fmla="*/ 3317233 h 3332957"/>
              <a:gd name="connsiteX13" fmla="*/ 3701921 w 4827014"/>
              <a:gd name="connsiteY13" fmla="*/ 3301287 h 3332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27014" h="3332957">
                <a:moveTo>
                  <a:pt x="4827014" y="1290950"/>
                </a:moveTo>
                <a:lnTo>
                  <a:pt x="2997951" y="267308"/>
                </a:lnTo>
                <a:lnTo>
                  <a:pt x="2984275" y="272750"/>
                </a:lnTo>
                <a:cubicBezTo>
                  <a:pt x="2910024" y="304096"/>
                  <a:pt x="2836426" y="336623"/>
                  <a:pt x="2763294" y="369318"/>
                </a:cubicBezTo>
                <a:cubicBezTo>
                  <a:pt x="2718520" y="389541"/>
                  <a:pt x="2669268" y="400327"/>
                  <a:pt x="2620015" y="401676"/>
                </a:cubicBezTo>
                <a:cubicBezTo>
                  <a:pt x="2294654" y="425944"/>
                  <a:pt x="1993172" y="262807"/>
                  <a:pt x="1703630" y="125286"/>
                </a:cubicBezTo>
                <a:cubicBezTo>
                  <a:pt x="1414089" y="-12236"/>
                  <a:pt x="1108130" y="-44593"/>
                  <a:pt x="806648" y="68660"/>
                </a:cubicBezTo>
                <a:cubicBezTo>
                  <a:pt x="476810" y="192698"/>
                  <a:pt x="148463" y="533803"/>
                  <a:pt x="60407" y="845248"/>
                </a:cubicBezTo>
                <a:cubicBezTo>
                  <a:pt x="-57499" y="1263203"/>
                  <a:pt x="6678" y="1632623"/>
                  <a:pt x="170850" y="2038445"/>
                </a:cubicBezTo>
                <a:cubicBezTo>
                  <a:pt x="315621" y="2398426"/>
                  <a:pt x="646953" y="2680209"/>
                  <a:pt x="1021566" y="2860873"/>
                </a:cubicBezTo>
                <a:cubicBezTo>
                  <a:pt x="1396179" y="3041538"/>
                  <a:pt x="1814074" y="3134567"/>
                  <a:pt x="2230477" y="3211417"/>
                </a:cubicBezTo>
                <a:cubicBezTo>
                  <a:pt x="2591658" y="3278829"/>
                  <a:pt x="2955824" y="3336804"/>
                  <a:pt x="3324468" y="3332758"/>
                </a:cubicBezTo>
                <a:cubicBezTo>
                  <a:pt x="3416629" y="3331747"/>
                  <a:pt x="3509069" y="3326776"/>
                  <a:pt x="3600834" y="3317233"/>
                </a:cubicBezTo>
                <a:lnTo>
                  <a:pt x="3701921" y="3301287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4E19C13-85DA-2841-8421-012CB3753497}"/>
              </a:ext>
            </a:extLst>
          </p:cNvPr>
          <p:cNvSpPr/>
          <p:nvPr/>
        </p:nvSpPr>
        <p:spPr>
          <a:xfrm>
            <a:off x="1097280" y="4042287"/>
            <a:ext cx="2255520" cy="20310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AECB80B-5B65-6F46-B343-33DDAF61481F}"/>
              </a:ext>
            </a:extLst>
          </p:cNvPr>
          <p:cNvSpPr/>
          <p:nvPr/>
        </p:nvSpPr>
        <p:spPr>
          <a:xfrm>
            <a:off x="1821180" y="3638427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D93C77-42DD-B046-85F9-BC035B49AAAF}"/>
              </a:ext>
            </a:extLst>
          </p:cNvPr>
          <p:cNvSpPr/>
          <p:nvPr/>
        </p:nvSpPr>
        <p:spPr>
          <a:xfrm flipH="1">
            <a:off x="1987213" y="3765841"/>
            <a:ext cx="475654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6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6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1F95C3-33CF-4640-A418-6454B22B2058}"/>
              </a:ext>
            </a:extLst>
          </p:cNvPr>
          <p:cNvSpPr/>
          <p:nvPr/>
        </p:nvSpPr>
        <p:spPr>
          <a:xfrm>
            <a:off x="1650514" y="4815845"/>
            <a:ext cx="1149052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3550050-499C-AB4A-8BC2-B5B1E734FC19}"/>
              </a:ext>
            </a:extLst>
          </p:cNvPr>
          <p:cNvSpPr/>
          <p:nvPr/>
        </p:nvSpPr>
        <p:spPr>
          <a:xfrm>
            <a:off x="3677920" y="4042287"/>
            <a:ext cx="2255520" cy="20310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7326E22-3F72-CB4B-AA8F-AE9ED130CE11}"/>
              </a:ext>
            </a:extLst>
          </p:cNvPr>
          <p:cNvSpPr/>
          <p:nvPr/>
        </p:nvSpPr>
        <p:spPr>
          <a:xfrm>
            <a:off x="4401820" y="3638427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C07E9-04B5-C94C-A5B2-71A13D45553F}"/>
              </a:ext>
            </a:extLst>
          </p:cNvPr>
          <p:cNvSpPr/>
          <p:nvPr/>
        </p:nvSpPr>
        <p:spPr>
          <a:xfrm flipH="1">
            <a:off x="4567853" y="3765841"/>
            <a:ext cx="475654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6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b</a:t>
            </a:r>
            <a:endParaRPr lang="en-US" sz="36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C0CB66-F737-C84E-A730-0046DDAC50BB}"/>
              </a:ext>
            </a:extLst>
          </p:cNvPr>
          <p:cNvSpPr/>
          <p:nvPr/>
        </p:nvSpPr>
        <p:spPr>
          <a:xfrm>
            <a:off x="4231154" y="4815845"/>
            <a:ext cx="1149052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82A1ECF3-B456-8340-A940-CA0A9A2122A8}"/>
              </a:ext>
            </a:extLst>
          </p:cNvPr>
          <p:cNvSpPr/>
          <p:nvPr/>
        </p:nvSpPr>
        <p:spPr>
          <a:xfrm>
            <a:off x="6258560" y="4042287"/>
            <a:ext cx="2255520" cy="20310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582A3F0-1353-7B4A-8C0A-062C9674CE5C}"/>
              </a:ext>
            </a:extLst>
          </p:cNvPr>
          <p:cNvSpPr/>
          <p:nvPr/>
        </p:nvSpPr>
        <p:spPr>
          <a:xfrm>
            <a:off x="6982460" y="3638427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D5A629-7C14-B549-B4F5-09E1A97BA087}"/>
              </a:ext>
            </a:extLst>
          </p:cNvPr>
          <p:cNvSpPr/>
          <p:nvPr/>
        </p:nvSpPr>
        <p:spPr>
          <a:xfrm flipH="1">
            <a:off x="7148493" y="3765841"/>
            <a:ext cx="475654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6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c</a:t>
            </a:r>
            <a:endParaRPr lang="en-US" sz="36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D28850C-A2CD-6D4F-8E5E-0CBBDFCB755D}"/>
              </a:ext>
            </a:extLst>
          </p:cNvPr>
          <p:cNvSpPr/>
          <p:nvPr/>
        </p:nvSpPr>
        <p:spPr>
          <a:xfrm>
            <a:off x="6811794" y="4815845"/>
            <a:ext cx="1149052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FB65B2B2-076B-4449-BC2B-31B22874727D}"/>
              </a:ext>
            </a:extLst>
          </p:cNvPr>
          <p:cNvSpPr/>
          <p:nvPr/>
        </p:nvSpPr>
        <p:spPr>
          <a:xfrm>
            <a:off x="8839200" y="4042287"/>
            <a:ext cx="2255520" cy="20310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191EAFE-E5BC-FC44-AD0C-C89436F7CC9B}"/>
              </a:ext>
            </a:extLst>
          </p:cNvPr>
          <p:cNvSpPr/>
          <p:nvPr/>
        </p:nvSpPr>
        <p:spPr>
          <a:xfrm>
            <a:off x="9563100" y="3638427"/>
            <a:ext cx="807720" cy="8077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8E407F2-A2FF-9149-BA25-A40ACDBD1199}"/>
              </a:ext>
            </a:extLst>
          </p:cNvPr>
          <p:cNvSpPr/>
          <p:nvPr/>
        </p:nvSpPr>
        <p:spPr>
          <a:xfrm flipH="1">
            <a:off x="9729133" y="3765841"/>
            <a:ext cx="475654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6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d</a:t>
            </a:r>
            <a:endParaRPr lang="en-US" sz="36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15321E-D84F-CF4D-B56C-961223E9C9F4}"/>
              </a:ext>
            </a:extLst>
          </p:cNvPr>
          <p:cNvSpPr/>
          <p:nvPr/>
        </p:nvSpPr>
        <p:spPr>
          <a:xfrm>
            <a:off x="9392434" y="4815845"/>
            <a:ext cx="1149052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600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65F8C4-66BC-C348-A251-CB028D1C7C11}"/>
              </a:ext>
            </a:extLst>
          </p:cNvPr>
          <p:cNvSpPr/>
          <p:nvPr/>
        </p:nvSpPr>
        <p:spPr>
          <a:xfrm>
            <a:off x="5043508" y="1312405"/>
            <a:ext cx="5327312" cy="129266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65C6637-986A-1143-AE15-2D0BB78E3984}"/>
              </a:ext>
            </a:extLst>
          </p:cNvPr>
          <p:cNvSpPr/>
          <p:nvPr/>
        </p:nvSpPr>
        <p:spPr>
          <a:xfrm>
            <a:off x="11147559" y="1622053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6E22C019-A085-974C-AF3F-6527B8A23D9D}"/>
              </a:ext>
            </a:extLst>
          </p:cNvPr>
          <p:cNvSpPr/>
          <p:nvPr/>
        </p:nvSpPr>
        <p:spPr>
          <a:xfrm rot="2376069">
            <a:off x="1641794" y="828600"/>
            <a:ext cx="1930900" cy="2933481"/>
          </a:xfrm>
          <a:custGeom>
            <a:avLst/>
            <a:gdLst>
              <a:gd name="connsiteX0" fmla="*/ 351334 w 1930900"/>
              <a:gd name="connsiteY0" fmla="*/ 220462 h 2933481"/>
              <a:gd name="connsiteX1" fmla="*/ 965450 w 1930900"/>
              <a:gd name="connsiteY1" fmla="*/ 0 h 2933481"/>
              <a:gd name="connsiteX2" fmla="*/ 1930900 w 1930900"/>
              <a:gd name="connsiteY2" fmla="*/ 965450 h 2933481"/>
              <a:gd name="connsiteX3" fmla="*/ 1930900 w 1930900"/>
              <a:gd name="connsiteY3" fmla="*/ 1841679 h 2933481"/>
              <a:gd name="connsiteX4" fmla="*/ 1870925 w 1930900"/>
              <a:gd name="connsiteY4" fmla="*/ 1915592 h 2933481"/>
              <a:gd name="connsiteX5" fmla="*/ 1525795 w 1930900"/>
              <a:gd name="connsiteY5" fmla="*/ 2227491 h 2933481"/>
              <a:gd name="connsiteX6" fmla="*/ 399704 w 1930900"/>
              <a:gd name="connsiteY6" fmla="*/ 2789867 h 2933481"/>
              <a:gd name="connsiteX7" fmla="*/ 141300 w 1930900"/>
              <a:gd name="connsiteY7" fmla="*/ 2885905 h 2933481"/>
              <a:gd name="connsiteX8" fmla="*/ 0 w 1930900"/>
              <a:gd name="connsiteY8" fmla="*/ 2933481 h 2933481"/>
              <a:gd name="connsiteX9" fmla="*/ 0 w 1930900"/>
              <a:gd name="connsiteY9" fmla="*/ 965450 h 2933481"/>
              <a:gd name="connsiteX10" fmla="*/ 351334 w 1930900"/>
              <a:gd name="connsiteY10" fmla="*/ 220462 h 2933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30900" h="2933481">
                <a:moveTo>
                  <a:pt x="351334" y="220462"/>
                </a:moveTo>
                <a:cubicBezTo>
                  <a:pt x="518221" y="82735"/>
                  <a:pt x="732174" y="0"/>
                  <a:pt x="965450" y="0"/>
                </a:cubicBezTo>
                <a:cubicBezTo>
                  <a:pt x="1498653" y="0"/>
                  <a:pt x="1930900" y="432247"/>
                  <a:pt x="1930900" y="965450"/>
                </a:cubicBezTo>
                <a:lnTo>
                  <a:pt x="1930900" y="1841679"/>
                </a:lnTo>
                <a:lnTo>
                  <a:pt x="1870925" y="1915592"/>
                </a:lnTo>
                <a:cubicBezTo>
                  <a:pt x="1769238" y="2030751"/>
                  <a:pt x="1651790" y="2135567"/>
                  <a:pt x="1525795" y="2227491"/>
                </a:cubicBezTo>
                <a:cubicBezTo>
                  <a:pt x="1189810" y="2472622"/>
                  <a:pt x="795479" y="2639336"/>
                  <a:pt x="399704" y="2789867"/>
                </a:cubicBezTo>
                <a:cubicBezTo>
                  <a:pt x="313916" y="2822694"/>
                  <a:pt x="227838" y="2854975"/>
                  <a:pt x="141300" y="2885905"/>
                </a:cubicBezTo>
                <a:lnTo>
                  <a:pt x="0" y="2933481"/>
                </a:lnTo>
                <a:lnTo>
                  <a:pt x="0" y="965450"/>
                </a:lnTo>
                <a:cubicBezTo>
                  <a:pt x="0" y="665523"/>
                  <a:pt x="136766" y="397540"/>
                  <a:pt x="351334" y="2204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DB60321-625F-264E-AB6E-5A82DA072A4F}"/>
              </a:ext>
            </a:extLst>
          </p:cNvPr>
          <p:cNvSpPr/>
          <p:nvPr/>
        </p:nvSpPr>
        <p:spPr>
          <a:xfrm>
            <a:off x="2225040" y="1259629"/>
            <a:ext cx="1372207" cy="137220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145265DE-ACEB-5A49-BFA2-66FC8B025929}"/>
              </a:ext>
            </a:extLst>
          </p:cNvPr>
          <p:cNvSpPr>
            <a:spLocks/>
          </p:cNvSpPr>
          <p:nvPr/>
        </p:nvSpPr>
        <p:spPr bwMode="auto">
          <a:xfrm>
            <a:off x="2541203" y="1566056"/>
            <a:ext cx="739880" cy="759352"/>
          </a:xfrm>
          <a:custGeom>
            <a:avLst/>
            <a:gdLst>
              <a:gd name="T0" fmla="*/ 88 w 96"/>
              <a:gd name="T1" fmla="*/ 40 h 96"/>
              <a:gd name="T2" fmla="*/ 88 w 96"/>
              <a:gd name="T3" fmla="*/ 38 h 96"/>
              <a:gd name="T4" fmla="*/ 78 w 96"/>
              <a:gd name="T5" fmla="*/ 28 h 96"/>
              <a:gd name="T6" fmla="*/ 78 w 96"/>
              <a:gd name="T7" fmla="*/ 28 h 96"/>
              <a:gd name="T8" fmla="*/ 48 w 96"/>
              <a:gd name="T9" fmla="*/ 0 h 96"/>
              <a:gd name="T10" fmla="*/ 18 w 96"/>
              <a:gd name="T11" fmla="*/ 28 h 96"/>
              <a:gd name="T12" fmla="*/ 18 w 96"/>
              <a:gd name="T13" fmla="*/ 28 h 96"/>
              <a:gd name="T14" fmla="*/ 8 w 96"/>
              <a:gd name="T15" fmla="*/ 38 h 96"/>
              <a:gd name="T16" fmla="*/ 8 w 96"/>
              <a:gd name="T17" fmla="*/ 40 h 96"/>
              <a:gd name="T18" fmla="*/ 0 w 96"/>
              <a:gd name="T19" fmla="*/ 50 h 96"/>
              <a:gd name="T20" fmla="*/ 8 w 96"/>
              <a:gd name="T21" fmla="*/ 60 h 96"/>
              <a:gd name="T22" fmla="*/ 8 w 96"/>
              <a:gd name="T23" fmla="*/ 62 h 96"/>
              <a:gd name="T24" fmla="*/ 18 w 96"/>
              <a:gd name="T25" fmla="*/ 72 h 96"/>
              <a:gd name="T26" fmla="*/ 26 w 96"/>
              <a:gd name="T27" fmla="*/ 72 h 96"/>
              <a:gd name="T28" fmla="*/ 28 w 96"/>
              <a:gd name="T29" fmla="*/ 70 h 96"/>
              <a:gd name="T30" fmla="*/ 28 w 96"/>
              <a:gd name="T31" fmla="*/ 30 h 96"/>
              <a:gd name="T32" fmla="*/ 26 w 96"/>
              <a:gd name="T33" fmla="*/ 28 h 96"/>
              <a:gd name="T34" fmla="*/ 22 w 96"/>
              <a:gd name="T35" fmla="*/ 28 h 96"/>
              <a:gd name="T36" fmla="*/ 48 w 96"/>
              <a:gd name="T37" fmla="*/ 4 h 96"/>
              <a:gd name="T38" fmla="*/ 74 w 96"/>
              <a:gd name="T39" fmla="*/ 28 h 96"/>
              <a:gd name="T40" fmla="*/ 70 w 96"/>
              <a:gd name="T41" fmla="*/ 28 h 96"/>
              <a:gd name="T42" fmla="*/ 68 w 96"/>
              <a:gd name="T43" fmla="*/ 30 h 96"/>
              <a:gd name="T44" fmla="*/ 68 w 96"/>
              <a:gd name="T45" fmla="*/ 70 h 96"/>
              <a:gd name="T46" fmla="*/ 70 w 96"/>
              <a:gd name="T47" fmla="*/ 72 h 96"/>
              <a:gd name="T48" fmla="*/ 78 w 96"/>
              <a:gd name="T49" fmla="*/ 72 h 96"/>
              <a:gd name="T50" fmla="*/ 78 w 96"/>
              <a:gd name="T51" fmla="*/ 74 h 96"/>
              <a:gd name="T52" fmla="*/ 66 w 96"/>
              <a:gd name="T53" fmla="*/ 86 h 96"/>
              <a:gd name="T54" fmla="*/ 60 w 96"/>
              <a:gd name="T55" fmla="*/ 86 h 96"/>
              <a:gd name="T56" fmla="*/ 52 w 96"/>
              <a:gd name="T57" fmla="*/ 80 h 96"/>
              <a:gd name="T58" fmla="*/ 44 w 96"/>
              <a:gd name="T59" fmla="*/ 88 h 96"/>
              <a:gd name="T60" fmla="*/ 52 w 96"/>
              <a:gd name="T61" fmla="*/ 96 h 96"/>
              <a:gd name="T62" fmla="*/ 60 w 96"/>
              <a:gd name="T63" fmla="*/ 90 h 96"/>
              <a:gd name="T64" fmla="*/ 66 w 96"/>
              <a:gd name="T65" fmla="*/ 90 h 96"/>
              <a:gd name="T66" fmla="*/ 82 w 96"/>
              <a:gd name="T67" fmla="*/ 74 h 96"/>
              <a:gd name="T68" fmla="*/ 82 w 96"/>
              <a:gd name="T69" fmla="*/ 71 h 96"/>
              <a:gd name="T70" fmla="*/ 88 w 96"/>
              <a:gd name="T71" fmla="*/ 62 h 96"/>
              <a:gd name="T72" fmla="*/ 88 w 96"/>
              <a:gd name="T73" fmla="*/ 60 h 96"/>
              <a:gd name="T74" fmla="*/ 96 w 96"/>
              <a:gd name="T75" fmla="*/ 50 h 96"/>
              <a:gd name="T76" fmla="*/ 88 w 96"/>
              <a:gd name="T77" fmla="*/ 4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6">
                <a:moveTo>
                  <a:pt x="88" y="40"/>
                </a:moveTo>
                <a:cubicBezTo>
                  <a:pt x="88" y="38"/>
                  <a:pt x="88" y="38"/>
                  <a:pt x="88" y="38"/>
                </a:cubicBezTo>
                <a:cubicBezTo>
                  <a:pt x="88" y="32"/>
                  <a:pt x="84" y="28"/>
                  <a:pt x="78" y="28"/>
                </a:cubicBezTo>
                <a:cubicBezTo>
                  <a:pt x="78" y="28"/>
                  <a:pt x="78" y="28"/>
                  <a:pt x="78" y="28"/>
                </a:cubicBezTo>
                <a:cubicBezTo>
                  <a:pt x="77" y="12"/>
                  <a:pt x="64" y="0"/>
                  <a:pt x="48" y="0"/>
                </a:cubicBezTo>
                <a:cubicBezTo>
                  <a:pt x="32" y="0"/>
                  <a:pt x="19" y="12"/>
                  <a:pt x="18" y="28"/>
                </a:cubicBezTo>
                <a:cubicBezTo>
                  <a:pt x="18" y="28"/>
                  <a:pt x="18" y="28"/>
                  <a:pt x="18" y="28"/>
                </a:cubicBezTo>
                <a:cubicBezTo>
                  <a:pt x="12" y="28"/>
                  <a:pt x="8" y="32"/>
                  <a:pt x="8" y="38"/>
                </a:cubicBezTo>
                <a:cubicBezTo>
                  <a:pt x="8" y="40"/>
                  <a:pt x="8" y="40"/>
                  <a:pt x="8" y="40"/>
                </a:cubicBezTo>
                <a:cubicBezTo>
                  <a:pt x="3" y="41"/>
                  <a:pt x="0" y="45"/>
                  <a:pt x="0" y="50"/>
                </a:cubicBezTo>
                <a:cubicBezTo>
                  <a:pt x="0" y="55"/>
                  <a:pt x="3" y="59"/>
                  <a:pt x="8" y="60"/>
                </a:cubicBezTo>
                <a:cubicBezTo>
                  <a:pt x="8" y="62"/>
                  <a:pt x="8" y="62"/>
                  <a:pt x="8" y="62"/>
                </a:cubicBezTo>
                <a:cubicBezTo>
                  <a:pt x="8" y="68"/>
                  <a:pt x="12" y="72"/>
                  <a:pt x="18" y="72"/>
                </a:cubicBezTo>
                <a:cubicBezTo>
                  <a:pt x="26" y="72"/>
                  <a:pt x="26" y="72"/>
                  <a:pt x="26" y="72"/>
                </a:cubicBezTo>
                <a:cubicBezTo>
                  <a:pt x="27" y="72"/>
                  <a:pt x="28" y="71"/>
                  <a:pt x="28" y="70"/>
                </a:cubicBezTo>
                <a:cubicBezTo>
                  <a:pt x="28" y="30"/>
                  <a:pt x="28" y="30"/>
                  <a:pt x="28" y="30"/>
                </a:cubicBezTo>
                <a:cubicBezTo>
                  <a:pt x="28" y="29"/>
                  <a:pt x="27" y="28"/>
                  <a:pt x="26" y="28"/>
                </a:cubicBezTo>
                <a:cubicBezTo>
                  <a:pt x="22" y="28"/>
                  <a:pt x="22" y="28"/>
                  <a:pt x="22" y="28"/>
                </a:cubicBezTo>
                <a:cubicBezTo>
                  <a:pt x="23" y="15"/>
                  <a:pt x="34" y="4"/>
                  <a:pt x="48" y="4"/>
                </a:cubicBezTo>
                <a:cubicBezTo>
                  <a:pt x="62" y="4"/>
                  <a:pt x="73" y="15"/>
                  <a:pt x="74" y="28"/>
                </a:cubicBezTo>
                <a:cubicBezTo>
                  <a:pt x="70" y="28"/>
                  <a:pt x="70" y="28"/>
                  <a:pt x="70" y="28"/>
                </a:cubicBezTo>
                <a:cubicBezTo>
                  <a:pt x="69" y="28"/>
                  <a:pt x="68" y="29"/>
                  <a:pt x="68" y="30"/>
                </a:cubicBezTo>
                <a:cubicBezTo>
                  <a:pt x="68" y="70"/>
                  <a:pt x="68" y="70"/>
                  <a:pt x="68" y="70"/>
                </a:cubicBezTo>
                <a:cubicBezTo>
                  <a:pt x="68" y="71"/>
                  <a:pt x="69" y="72"/>
                  <a:pt x="70" y="72"/>
                </a:cubicBezTo>
                <a:cubicBezTo>
                  <a:pt x="78" y="72"/>
                  <a:pt x="78" y="72"/>
                  <a:pt x="78" y="72"/>
                </a:cubicBezTo>
                <a:cubicBezTo>
                  <a:pt x="78" y="74"/>
                  <a:pt x="78" y="74"/>
                  <a:pt x="78" y="74"/>
                </a:cubicBezTo>
                <a:cubicBezTo>
                  <a:pt x="78" y="81"/>
                  <a:pt x="73" y="86"/>
                  <a:pt x="66" y="86"/>
                </a:cubicBezTo>
                <a:cubicBezTo>
                  <a:pt x="60" y="86"/>
                  <a:pt x="60" y="86"/>
                  <a:pt x="60" y="86"/>
                </a:cubicBezTo>
                <a:cubicBezTo>
                  <a:pt x="59" y="83"/>
                  <a:pt x="56" y="80"/>
                  <a:pt x="52" y="80"/>
                </a:cubicBezTo>
                <a:cubicBezTo>
                  <a:pt x="48" y="80"/>
                  <a:pt x="44" y="84"/>
                  <a:pt x="44" y="88"/>
                </a:cubicBezTo>
                <a:cubicBezTo>
                  <a:pt x="44" y="92"/>
                  <a:pt x="48" y="96"/>
                  <a:pt x="52" y="96"/>
                </a:cubicBezTo>
                <a:cubicBezTo>
                  <a:pt x="56" y="96"/>
                  <a:pt x="59" y="93"/>
                  <a:pt x="60" y="90"/>
                </a:cubicBezTo>
                <a:cubicBezTo>
                  <a:pt x="66" y="90"/>
                  <a:pt x="66" y="90"/>
                  <a:pt x="66" y="90"/>
                </a:cubicBezTo>
                <a:cubicBezTo>
                  <a:pt x="75" y="90"/>
                  <a:pt x="82" y="83"/>
                  <a:pt x="82" y="74"/>
                </a:cubicBezTo>
                <a:cubicBezTo>
                  <a:pt x="82" y="71"/>
                  <a:pt x="82" y="71"/>
                  <a:pt x="82" y="71"/>
                </a:cubicBezTo>
                <a:cubicBezTo>
                  <a:pt x="86" y="70"/>
                  <a:pt x="88" y="66"/>
                  <a:pt x="88" y="62"/>
                </a:cubicBezTo>
                <a:cubicBezTo>
                  <a:pt x="88" y="60"/>
                  <a:pt x="88" y="60"/>
                  <a:pt x="88" y="60"/>
                </a:cubicBezTo>
                <a:cubicBezTo>
                  <a:pt x="93" y="59"/>
                  <a:pt x="96" y="55"/>
                  <a:pt x="96" y="50"/>
                </a:cubicBezTo>
                <a:cubicBezTo>
                  <a:pt x="96" y="45"/>
                  <a:pt x="93" y="41"/>
                  <a:pt x="88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5195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1DDAE7-3A39-8F49-ADD6-BDA05F8C42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30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Freeform 86">
            <a:extLst>
              <a:ext uri="{FF2B5EF4-FFF2-40B4-BE49-F238E27FC236}">
                <a16:creationId xmlns:a16="http://schemas.microsoft.com/office/drawing/2014/main" id="{5019E314-3611-5B41-9F75-974247E092C9}"/>
              </a:ext>
            </a:extLst>
          </p:cNvPr>
          <p:cNvSpPr/>
          <p:nvPr/>
        </p:nvSpPr>
        <p:spPr>
          <a:xfrm rot="20369329" flipH="1">
            <a:off x="8856191" y="3791500"/>
            <a:ext cx="3768445" cy="2485058"/>
          </a:xfrm>
          <a:custGeom>
            <a:avLst/>
            <a:gdLst>
              <a:gd name="connsiteX0" fmla="*/ 398382 w 3768445"/>
              <a:gd name="connsiteY0" fmla="*/ 51193 h 2485058"/>
              <a:gd name="connsiteX1" fmla="*/ 52580 w 3768445"/>
              <a:gd name="connsiteY1" fmla="*/ 288307 h 2485058"/>
              <a:gd name="connsiteX2" fmla="*/ 0 w 3768445"/>
              <a:gd name="connsiteY2" fmla="*/ 348714 h 2485058"/>
              <a:gd name="connsiteX3" fmla="*/ 687659 w 3768445"/>
              <a:gd name="connsiteY3" fmla="*/ 2186847 h 2485058"/>
              <a:gd name="connsiteX4" fmla="*/ 773638 w 3768445"/>
              <a:gd name="connsiteY4" fmla="*/ 2222680 h 2485058"/>
              <a:gd name="connsiteX5" fmla="*/ 1459990 w 3768445"/>
              <a:gd name="connsiteY5" fmla="*/ 2394437 h 2485058"/>
              <a:gd name="connsiteX6" fmla="*/ 2275671 w 3768445"/>
              <a:gd name="connsiteY6" fmla="*/ 2484909 h 2485058"/>
              <a:gd name="connsiteX7" fmla="*/ 3064644 w 3768445"/>
              <a:gd name="connsiteY7" fmla="*/ 2304969 h 2485058"/>
              <a:gd name="connsiteX8" fmla="*/ 3766819 w 3768445"/>
              <a:gd name="connsiteY8" fmla="*/ 1116761 h 2485058"/>
              <a:gd name="connsiteX9" fmla="*/ 3682246 w 3768445"/>
              <a:gd name="connsiteY9" fmla="*/ 559850 h 2485058"/>
              <a:gd name="connsiteX10" fmla="*/ 3300557 w 3768445"/>
              <a:gd name="connsiteY10" fmla="*/ 124576 h 2485058"/>
              <a:gd name="connsiteX11" fmla="*/ 2537178 w 3768445"/>
              <a:gd name="connsiteY11" fmla="*/ 37119 h 2485058"/>
              <a:gd name="connsiteX12" fmla="*/ 1857259 w 3768445"/>
              <a:gd name="connsiteY12" fmla="*/ 275364 h 2485058"/>
              <a:gd name="connsiteX13" fmla="*/ 1750430 w 3768445"/>
              <a:gd name="connsiteY13" fmla="*/ 299490 h 2485058"/>
              <a:gd name="connsiteX14" fmla="*/ 1067173 w 3768445"/>
              <a:gd name="connsiteY14" fmla="*/ 93413 h 2485058"/>
              <a:gd name="connsiteX15" fmla="*/ 398382 w 3768445"/>
              <a:gd name="connsiteY15" fmla="*/ 51193 h 2485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768445" h="2485058">
                <a:moveTo>
                  <a:pt x="398382" y="51193"/>
                </a:moveTo>
                <a:cubicBezTo>
                  <a:pt x="275418" y="97434"/>
                  <a:pt x="152732" y="184137"/>
                  <a:pt x="52580" y="288307"/>
                </a:cubicBezTo>
                <a:lnTo>
                  <a:pt x="0" y="348714"/>
                </a:lnTo>
                <a:lnTo>
                  <a:pt x="687659" y="2186847"/>
                </a:lnTo>
                <a:lnTo>
                  <a:pt x="773638" y="2222680"/>
                </a:lnTo>
                <a:cubicBezTo>
                  <a:pt x="993659" y="2301702"/>
                  <a:pt x="1227137" y="2351462"/>
                  <a:pt x="1459990" y="2394437"/>
                </a:cubicBezTo>
                <a:cubicBezTo>
                  <a:pt x="1729287" y="2444700"/>
                  <a:pt x="2000809" y="2487926"/>
                  <a:pt x="2275671" y="2484909"/>
                </a:cubicBezTo>
                <a:cubicBezTo>
                  <a:pt x="2550531" y="2481894"/>
                  <a:pt x="2828731" y="2431631"/>
                  <a:pt x="3064644" y="2304969"/>
                </a:cubicBezTo>
                <a:cubicBezTo>
                  <a:pt x="3509763" y="2065719"/>
                  <a:pt x="3741225" y="1584203"/>
                  <a:pt x="3766819" y="1116761"/>
                </a:cubicBezTo>
                <a:cubicBezTo>
                  <a:pt x="3774608" y="927773"/>
                  <a:pt x="3755691" y="736775"/>
                  <a:pt x="3682246" y="559850"/>
                </a:cubicBezTo>
                <a:cubicBezTo>
                  <a:pt x="3608802" y="382926"/>
                  <a:pt x="3478604" y="223091"/>
                  <a:pt x="3300557" y="124576"/>
                </a:cubicBezTo>
                <a:cubicBezTo>
                  <a:pt x="3075772" y="1935"/>
                  <a:pt x="2794234" y="-11133"/>
                  <a:pt x="2537178" y="37119"/>
                </a:cubicBezTo>
                <a:cubicBezTo>
                  <a:pt x="2299040" y="82355"/>
                  <a:pt x="2075368" y="177854"/>
                  <a:pt x="1857259" y="275364"/>
                </a:cubicBezTo>
                <a:cubicBezTo>
                  <a:pt x="1823875" y="290443"/>
                  <a:pt x="1787153" y="298485"/>
                  <a:pt x="1750430" y="299490"/>
                </a:cubicBezTo>
                <a:cubicBezTo>
                  <a:pt x="1507841" y="317585"/>
                  <a:pt x="1283055" y="195949"/>
                  <a:pt x="1067173" y="93413"/>
                </a:cubicBezTo>
                <a:cubicBezTo>
                  <a:pt x="851290" y="-9123"/>
                  <a:pt x="623167" y="-33249"/>
                  <a:pt x="398382" y="5119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7534C38-B42D-5146-B14B-91C522EBBAB2}"/>
              </a:ext>
            </a:extLst>
          </p:cNvPr>
          <p:cNvSpPr/>
          <p:nvPr/>
        </p:nvSpPr>
        <p:spPr>
          <a:xfrm>
            <a:off x="2225040" y="1808269"/>
            <a:ext cx="9451023" cy="3808102"/>
          </a:xfrm>
          <a:prstGeom prst="roundRect">
            <a:avLst>
              <a:gd name="adj" fmla="val 9861"/>
            </a:avLst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6473A6B9-6556-E145-9924-D0E29DEC10BA}"/>
              </a:ext>
            </a:extLst>
          </p:cNvPr>
          <p:cNvSpPr/>
          <p:nvPr/>
        </p:nvSpPr>
        <p:spPr>
          <a:xfrm rot="19218209" flipH="1">
            <a:off x="-1114870" y="38220"/>
            <a:ext cx="5174896" cy="3590356"/>
          </a:xfrm>
          <a:custGeom>
            <a:avLst/>
            <a:gdLst>
              <a:gd name="connsiteX0" fmla="*/ 1879596 w 5174896"/>
              <a:gd name="connsiteY0" fmla="*/ 0 h 3590356"/>
              <a:gd name="connsiteX1" fmla="*/ 469899 w 5174896"/>
              <a:gd name="connsiteY1" fmla="*/ 1170209 h 3590356"/>
              <a:gd name="connsiteX2" fmla="*/ 0 w 5174896"/>
              <a:gd name="connsiteY2" fmla="*/ 1560278 h 3590356"/>
              <a:gd name="connsiteX3" fmla="*/ 5804 w 5174896"/>
              <a:gd name="connsiteY3" fmla="*/ 1601391 h 3590356"/>
              <a:gd name="connsiteX4" fmla="*/ 148828 w 5174896"/>
              <a:gd name="connsiteY4" fmla="*/ 2110777 h 3590356"/>
              <a:gd name="connsiteX5" fmla="*/ 1029367 w 5174896"/>
              <a:gd name="connsiteY5" fmla="*/ 3050781 h 3590356"/>
              <a:gd name="connsiteX6" fmla="*/ 2280661 w 5174896"/>
              <a:gd name="connsiteY6" fmla="*/ 3451439 h 3590356"/>
              <a:gd name="connsiteX7" fmla="*/ 3413004 w 5174896"/>
              <a:gd name="connsiteY7" fmla="*/ 3590128 h 3590356"/>
              <a:gd name="connsiteX8" fmla="*/ 4508272 w 5174896"/>
              <a:gd name="connsiteY8" fmla="*/ 3314291 h 3590356"/>
              <a:gd name="connsiteX9" fmla="*/ 5149886 w 5174896"/>
              <a:gd name="connsiteY9" fmla="*/ 2652577 h 3590356"/>
              <a:gd name="connsiteX10" fmla="*/ 5174896 w 5174896"/>
              <a:gd name="connsiteY10" fmla="*/ 2606650 h 3590356"/>
              <a:gd name="connsiteX11" fmla="*/ 3080750 w 5174896"/>
              <a:gd name="connsiteY11" fmla="*/ 83926 h 3590356"/>
              <a:gd name="connsiteX12" fmla="*/ 3060885 w 5174896"/>
              <a:gd name="connsiteY12" fmla="*/ 92655 h 3590356"/>
              <a:gd name="connsiteX13" fmla="*/ 2832157 w 5174896"/>
              <a:gd name="connsiteY13" fmla="*/ 203028 h 3590356"/>
              <a:gd name="connsiteX14" fmla="*/ 2683855 w 5174896"/>
              <a:gd name="connsiteY14" fmla="*/ 240012 h 3590356"/>
              <a:gd name="connsiteX15" fmla="*/ 1962624 w 5174896"/>
              <a:gd name="connsiteY15" fmla="*/ 43680 h 359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174896" h="3590356">
                <a:moveTo>
                  <a:pt x="1879596" y="0"/>
                </a:moveTo>
                <a:lnTo>
                  <a:pt x="469899" y="1170209"/>
                </a:lnTo>
                <a:lnTo>
                  <a:pt x="0" y="1560278"/>
                </a:lnTo>
                <a:lnTo>
                  <a:pt x="5804" y="1601391"/>
                </a:lnTo>
                <a:cubicBezTo>
                  <a:pt x="35937" y="1768748"/>
                  <a:pt x="85105" y="1936837"/>
                  <a:pt x="148828" y="2110777"/>
                </a:cubicBezTo>
                <a:cubicBezTo>
                  <a:pt x="298674" y="2522222"/>
                  <a:pt x="641622" y="2844289"/>
                  <a:pt x="1029367" y="3050781"/>
                </a:cubicBezTo>
                <a:cubicBezTo>
                  <a:pt x="1417114" y="3257275"/>
                  <a:pt x="1849660" y="3363603"/>
                  <a:pt x="2280661" y="3451439"/>
                </a:cubicBezTo>
                <a:cubicBezTo>
                  <a:pt x="2654504" y="3528489"/>
                  <a:pt x="3031437" y="3594751"/>
                  <a:pt x="3413004" y="3590128"/>
                </a:cubicBezTo>
                <a:cubicBezTo>
                  <a:pt x="3794571" y="3585506"/>
                  <a:pt x="4180773" y="3508456"/>
                  <a:pt x="4508272" y="3314291"/>
                </a:cubicBezTo>
                <a:cubicBezTo>
                  <a:pt x="4778613" y="3153835"/>
                  <a:pt x="4992183" y="2922295"/>
                  <a:pt x="5149886" y="2652577"/>
                </a:cubicBezTo>
                <a:lnTo>
                  <a:pt x="5174896" y="2606650"/>
                </a:lnTo>
                <a:lnTo>
                  <a:pt x="3080750" y="83926"/>
                </a:lnTo>
                <a:lnTo>
                  <a:pt x="3060885" y="92655"/>
                </a:lnTo>
                <a:cubicBezTo>
                  <a:pt x="2984031" y="128483"/>
                  <a:pt x="2907852" y="165659"/>
                  <a:pt x="2832157" y="203028"/>
                </a:cubicBezTo>
                <a:cubicBezTo>
                  <a:pt x="2785813" y="226143"/>
                  <a:pt x="2734834" y="238471"/>
                  <a:pt x="2683855" y="240012"/>
                </a:cubicBezTo>
                <a:cubicBezTo>
                  <a:pt x="2431279" y="260816"/>
                  <a:pt x="2192607" y="161133"/>
                  <a:pt x="1962624" y="43680"/>
                </a:cubicBez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39ADA31-C224-D645-BAD8-E9920DBFCFB7}"/>
              </a:ext>
            </a:extLst>
          </p:cNvPr>
          <p:cNvSpPr/>
          <p:nvPr/>
        </p:nvSpPr>
        <p:spPr>
          <a:xfrm>
            <a:off x="5812585" y="3280899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A895E2-311C-8B4C-B88E-3ACFA2C4E2AD}"/>
              </a:ext>
            </a:extLst>
          </p:cNvPr>
          <p:cNvSpPr/>
          <p:nvPr/>
        </p:nvSpPr>
        <p:spPr>
          <a:xfrm flipH="1">
            <a:off x="5812585" y="3473890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l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F8A9B97-FC20-4A4F-8AE1-FE9C55EB40C9}"/>
              </a:ext>
            </a:extLst>
          </p:cNvPr>
          <p:cNvSpPr/>
          <p:nvPr/>
        </p:nvSpPr>
        <p:spPr>
          <a:xfrm>
            <a:off x="6951915" y="3280899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653CD7D-C6AD-2842-A1B8-F3BCB0592489}"/>
              </a:ext>
            </a:extLst>
          </p:cNvPr>
          <p:cNvSpPr/>
          <p:nvPr/>
        </p:nvSpPr>
        <p:spPr>
          <a:xfrm flipH="1">
            <a:off x="6951915" y="3473890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o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57CDD2C-C45C-8846-96C1-64AB3D7A0F76}"/>
              </a:ext>
            </a:extLst>
          </p:cNvPr>
          <p:cNvSpPr/>
          <p:nvPr/>
        </p:nvSpPr>
        <p:spPr>
          <a:xfrm>
            <a:off x="8091245" y="3280899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38215D-2D5A-0C4C-8F5A-56EB6510A6BB}"/>
              </a:ext>
            </a:extLst>
          </p:cNvPr>
          <p:cNvSpPr/>
          <p:nvPr/>
        </p:nvSpPr>
        <p:spPr>
          <a:xfrm flipH="1">
            <a:off x="8091245" y="3473890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_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2BDB386-0AE5-6F49-B845-755AE195B2C3}"/>
              </a:ext>
            </a:extLst>
          </p:cNvPr>
          <p:cNvSpPr/>
          <p:nvPr/>
        </p:nvSpPr>
        <p:spPr>
          <a:xfrm>
            <a:off x="9230575" y="3280899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094164-9948-B842-8D50-4F951F5C3023}"/>
              </a:ext>
            </a:extLst>
          </p:cNvPr>
          <p:cNvSpPr/>
          <p:nvPr/>
        </p:nvSpPr>
        <p:spPr>
          <a:xfrm flipH="1">
            <a:off x="9230575" y="3473890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_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AEFD9AA-834F-D848-BAEC-BF18716A4AFB}"/>
              </a:ext>
            </a:extLst>
          </p:cNvPr>
          <p:cNvSpPr/>
          <p:nvPr/>
        </p:nvSpPr>
        <p:spPr>
          <a:xfrm>
            <a:off x="10369906" y="3280899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65086F-81B7-1849-82AF-034DE4EC4DCA}"/>
              </a:ext>
            </a:extLst>
          </p:cNvPr>
          <p:cNvSpPr/>
          <p:nvPr/>
        </p:nvSpPr>
        <p:spPr>
          <a:xfrm flipH="1">
            <a:off x="10369906" y="3473890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m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1FB053C6-99E9-8E4F-A9B7-4BA5B102BA0A}"/>
              </a:ext>
            </a:extLst>
          </p:cNvPr>
          <p:cNvSpPr/>
          <p:nvPr/>
        </p:nvSpPr>
        <p:spPr>
          <a:xfrm>
            <a:off x="5812585" y="4320493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0144E48-FC54-F549-ABBE-39D4D3950E61}"/>
              </a:ext>
            </a:extLst>
          </p:cNvPr>
          <p:cNvSpPr/>
          <p:nvPr/>
        </p:nvSpPr>
        <p:spPr>
          <a:xfrm flipH="1">
            <a:off x="5812585" y="4602510"/>
            <a:ext cx="931200" cy="369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_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DD653D3B-6B0B-294D-B77C-78504F47E8C6}"/>
              </a:ext>
            </a:extLst>
          </p:cNvPr>
          <p:cNvSpPr/>
          <p:nvPr/>
        </p:nvSpPr>
        <p:spPr>
          <a:xfrm>
            <a:off x="6951915" y="4320493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5DAD766-5E6F-2E49-B470-0C26C42960B6}"/>
              </a:ext>
            </a:extLst>
          </p:cNvPr>
          <p:cNvSpPr/>
          <p:nvPr/>
        </p:nvSpPr>
        <p:spPr>
          <a:xfrm flipH="1">
            <a:off x="6951915" y="4602510"/>
            <a:ext cx="931200" cy="369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p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C9BF6073-1D3C-5547-8D16-D8239B0CBDCF}"/>
              </a:ext>
            </a:extLst>
          </p:cNvPr>
          <p:cNvSpPr/>
          <p:nvPr/>
        </p:nvSpPr>
        <p:spPr>
          <a:xfrm>
            <a:off x="8091245" y="4320493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6DD983A-DB58-934F-969B-8EA0232346BA}"/>
              </a:ext>
            </a:extLst>
          </p:cNvPr>
          <p:cNvSpPr/>
          <p:nvPr/>
        </p:nvSpPr>
        <p:spPr>
          <a:xfrm flipH="1">
            <a:off x="8091245" y="4602510"/>
            <a:ext cx="931200" cy="369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s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53B11AF0-8F64-D142-98D0-E43690989847}"/>
              </a:ext>
            </a:extLst>
          </p:cNvPr>
          <p:cNvSpPr/>
          <p:nvPr/>
        </p:nvSpPr>
        <p:spPr>
          <a:xfrm>
            <a:off x="9230575" y="4320493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7880167-B89D-D548-ADC5-164A264AEE30}"/>
              </a:ext>
            </a:extLst>
          </p:cNvPr>
          <p:cNvSpPr/>
          <p:nvPr/>
        </p:nvSpPr>
        <p:spPr>
          <a:xfrm flipH="1">
            <a:off x="9230575" y="4513484"/>
            <a:ext cx="931200" cy="5473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_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D06774BE-69AE-D845-90CC-7EEC7D0ABC65}"/>
              </a:ext>
            </a:extLst>
          </p:cNvPr>
          <p:cNvSpPr/>
          <p:nvPr/>
        </p:nvSpPr>
        <p:spPr>
          <a:xfrm>
            <a:off x="10369906" y="4320493"/>
            <a:ext cx="931200" cy="931201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C4299F5-5851-A844-803E-44F194D6E0DB}"/>
              </a:ext>
            </a:extLst>
          </p:cNvPr>
          <p:cNvSpPr/>
          <p:nvPr/>
        </p:nvSpPr>
        <p:spPr>
          <a:xfrm flipH="1">
            <a:off x="10369906" y="4602510"/>
            <a:ext cx="931200" cy="369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_</a:t>
            </a:r>
            <a:endParaRPr lang="en-US" sz="2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454686B-E957-E34F-A180-91D6CA6FAB63}"/>
              </a:ext>
            </a:extLst>
          </p:cNvPr>
          <p:cNvSpPr/>
          <p:nvPr/>
        </p:nvSpPr>
        <p:spPr>
          <a:xfrm>
            <a:off x="5901874" y="2129624"/>
            <a:ext cx="5399231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b="1" dirty="0" err="1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400" b="1" dirty="0">
                <a:solidFill>
                  <a:schemeClr val="accent3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400" b="1" dirty="0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0B2C460-A24B-ED4C-B62E-8684882D1050}"/>
              </a:ext>
            </a:extLst>
          </p:cNvPr>
          <p:cNvSpPr/>
          <p:nvPr/>
        </p:nvSpPr>
        <p:spPr>
          <a:xfrm>
            <a:off x="10696941" y="1534566"/>
            <a:ext cx="547406" cy="54740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 84">
            <a:extLst>
              <a:ext uri="{FF2B5EF4-FFF2-40B4-BE49-F238E27FC236}">
                <a16:creationId xmlns:a16="http://schemas.microsoft.com/office/drawing/2014/main" id="{2F1ABE52-AA7D-1542-BDE5-C4664D5EEB80}"/>
              </a:ext>
            </a:extLst>
          </p:cNvPr>
          <p:cNvSpPr/>
          <p:nvPr/>
        </p:nvSpPr>
        <p:spPr>
          <a:xfrm rot="20369329" flipH="1">
            <a:off x="-264421" y="1829170"/>
            <a:ext cx="5915781" cy="3741454"/>
          </a:xfrm>
          <a:custGeom>
            <a:avLst/>
            <a:gdLst>
              <a:gd name="connsiteX0" fmla="*/ 905513 w 5915781"/>
              <a:gd name="connsiteY0" fmla="*/ 77075 h 3741454"/>
              <a:gd name="connsiteX1" fmla="*/ 67810 w 5915781"/>
              <a:gd name="connsiteY1" fmla="*/ 948844 h 3741454"/>
              <a:gd name="connsiteX2" fmla="*/ 191790 w 5915781"/>
              <a:gd name="connsiteY2" fmla="*/ 2288282 h 3741454"/>
              <a:gd name="connsiteX3" fmla="*/ 1146771 w 5915781"/>
              <a:gd name="connsiteY3" fmla="*/ 3211509 h 3741454"/>
              <a:gd name="connsiteX4" fmla="*/ 2503850 w 5915781"/>
              <a:gd name="connsiteY4" fmla="*/ 3605017 h 3741454"/>
              <a:gd name="connsiteX5" fmla="*/ 3731923 w 5915781"/>
              <a:gd name="connsiteY5" fmla="*/ 3741230 h 3741454"/>
              <a:gd name="connsiteX6" fmla="*/ 4919786 w 5915781"/>
              <a:gd name="connsiteY6" fmla="*/ 3470316 h 3741454"/>
              <a:gd name="connsiteX7" fmla="*/ 5889767 w 5915781"/>
              <a:gd name="connsiteY7" fmla="*/ 2207145 h 3741454"/>
              <a:gd name="connsiteX8" fmla="*/ 5915781 w 5915781"/>
              <a:gd name="connsiteY8" fmla="*/ 2090203 h 3741454"/>
              <a:gd name="connsiteX9" fmla="*/ 5188775 w 5915781"/>
              <a:gd name="connsiteY9" fmla="*/ 146894 h 3741454"/>
              <a:gd name="connsiteX10" fmla="*/ 5144294 w 5915781"/>
              <a:gd name="connsiteY10" fmla="*/ 125908 h 3741454"/>
              <a:gd name="connsiteX11" fmla="*/ 4125644 w 5915781"/>
              <a:gd name="connsiteY11" fmla="*/ 55886 h 3741454"/>
              <a:gd name="connsiteX12" fmla="*/ 3101970 w 5915781"/>
              <a:gd name="connsiteY12" fmla="*/ 414582 h 3741454"/>
              <a:gd name="connsiteX13" fmla="*/ 2941131 w 5915781"/>
              <a:gd name="connsiteY13" fmla="*/ 450906 h 3741454"/>
              <a:gd name="connsiteX14" fmla="*/ 1912432 w 5915781"/>
              <a:gd name="connsiteY14" fmla="*/ 140641 h 3741454"/>
              <a:gd name="connsiteX15" fmla="*/ 905513 w 5915781"/>
              <a:gd name="connsiteY15" fmla="*/ 77075 h 374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15781" h="3741454">
                <a:moveTo>
                  <a:pt x="905513" y="77075"/>
                </a:moveTo>
                <a:cubicBezTo>
                  <a:pt x="535249" y="216315"/>
                  <a:pt x="166659" y="599228"/>
                  <a:pt x="67810" y="948844"/>
                </a:cubicBezTo>
                <a:cubicBezTo>
                  <a:pt x="-64546" y="1418025"/>
                  <a:pt x="7496" y="1832721"/>
                  <a:pt x="191790" y="2288282"/>
                </a:cubicBezTo>
                <a:cubicBezTo>
                  <a:pt x="354305" y="2692383"/>
                  <a:pt x="726245" y="3008702"/>
                  <a:pt x="1146771" y="3211509"/>
                </a:cubicBezTo>
                <a:cubicBezTo>
                  <a:pt x="1567299" y="3414317"/>
                  <a:pt x="2036412" y="3518748"/>
                  <a:pt x="2503850" y="3605017"/>
                </a:cubicBezTo>
                <a:cubicBezTo>
                  <a:pt x="2909298" y="3680690"/>
                  <a:pt x="3318097" y="3745771"/>
                  <a:pt x="3731923" y="3741230"/>
                </a:cubicBezTo>
                <a:cubicBezTo>
                  <a:pt x="4145748" y="3736690"/>
                  <a:pt x="4564600" y="3661016"/>
                  <a:pt x="4919786" y="3470316"/>
                </a:cubicBezTo>
                <a:cubicBezTo>
                  <a:pt x="5422408" y="3200159"/>
                  <a:pt x="5744085" y="2724828"/>
                  <a:pt x="5889767" y="2207145"/>
                </a:cubicBezTo>
                <a:lnTo>
                  <a:pt x="5915781" y="2090203"/>
                </a:lnTo>
                <a:lnTo>
                  <a:pt x="5188775" y="146894"/>
                </a:lnTo>
                <a:lnTo>
                  <a:pt x="5144294" y="125908"/>
                </a:lnTo>
                <a:cubicBezTo>
                  <a:pt x="4831146" y="-563"/>
                  <a:pt x="4464285" y="-7681"/>
                  <a:pt x="4125644" y="55886"/>
                </a:cubicBezTo>
                <a:cubicBezTo>
                  <a:pt x="3767106" y="123993"/>
                  <a:pt x="3430350" y="267774"/>
                  <a:pt x="3101970" y="414582"/>
                </a:cubicBezTo>
                <a:cubicBezTo>
                  <a:pt x="3051708" y="437285"/>
                  <a:pt x="2996420" y="449393"/>
                  <a:pt x="2941131" y="450906"/>
                </a:cubicBezTo>
                <a:cubicBezTo>
                  <a:pt x="2575893" y="478149"/>
                  <a:pt x="2237460" y="295017"/>
                  <a:pt x="1912432" y="140641"/>
                </a:cubicBezTo>
                <a:cubicBezTo>
                  <a:pt x="1587404" y="-13735"/>
                  <a:pt x="1243945" y="-50059"/>
                  <a:pt x="905513" y="77075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6CAAA516-691D-7541-8AD4-7551EB378C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3129" y="786606"/>
            <a:ext cx="4084915" cy="524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07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681BE-22DF-7F43-B97E-0FBC9C85CE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569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Freeform 57">
            <a:extLst>
              <a:ext uri="{FF2B5EF4-FFF2-40B4-BE49-F238E27FC236}">
                <a16:creationId xmlns:a16="http://schemas.microsoft.com/office/drawing/2014/main" id="{C35722D0-0033-8541-9547-9AC15D761AC3}"/>
              </a:ext>
            </a:extLst>
          </p:cNvPr>
          <p:cNvSpPr/>
          <p:nvPr/>
        </p:nvSpPr>
        <p:spPr>
          <a:xfrm rot="1754024" flipH="1">
            <a:off x="8017307" y="-51277"/>
            <a:ext cx="4941318" cy="3632870"/>
          </a:xfrm>
          <a:custGeom>
            <a:avLst/>
            <a:gdLst>
              <a:gd name="connsiteX0" fmla="*/ 4927926 w 4941318"/>
              <a:gd name="connsiteY0" fmla="*/ 1168864 h 3632870"/>
              <a:gd name="connsiteX1" fmla="*/ 2839379 w 4941318"/>
              <a:gd name="connsiteY1" fmla="*/ 0 h 3632870"/>
              <a:gd name="connsiteX2" fmla="*/ 2749684 w 4941318"/>
              <a:gd name="connsiteY2" fmla="*/ 32885 h 3632870"/>
              <a:gd name="connsiteX3" fmla="*/ 2288173 w 4941318"/>
              <a:gd name="connsiteY3" fmla="*/ 245542 h 3632870"/>
              <a:gd name="connsiteX4" fmla="*/ 2139871 w 4941318"/>
              <a:gd name="connsiteY4" fmla="*/ 282526 h 3632870"/>
              <a:gd name="connsiteX5" fmla="*/ 1534379 w 4941318"/>
              <a:gd name="connsiteY5" fmla="*/ 142964 h 3632870"/>
              <a:gd name="connsiteX6" fmla="*/ 1471687 w 4941318"/>
              <a:gd name="connsiteY6" fmla="*/ 112214 h 3632870"/>
              <a:gd name="connsiteX7" fmla="*/ 0 w 4941318"/>
              <a:gd name="connsiteY7" fmla="*/ 2741851 h 3632870"/>
              <a:gd name="connsiteX8" fmla="*/ 75889 w 4941318"/>
              <a:gd name="connsiteY8" fmla="*/ 2813614 h 3632870"/>
              <a:gd name="connsiteX9" fmla="*/ 485383 w 4941318"/>
              <a:gd name="connsiteY9" fmla="*/ 3093295 h 3632870"/>
              <a:gd name="connsiteX10" fmla="*/ 1736677 w 4941318"/>
              <a:gd name="connsiteY10" fmla="*/ 3493953 h 3632870"/>
              <a:gd name="connsiteX11" fmla="*/ 2869020 w 4941318"/>
              <a:gd name="connsiteY11" fmla="*/ 3632642 h 3632870"/>
              <a:gd name="connsiteX12" fmla="*/ 3964288 w 4941318"/>
              <a:gd name="connsiteY12" fmla="*/ 3356805 h 3632870"/>
              <a:gd name="connsiteX13" fmla="*/ 4939061 w 4941318"/>
              <a:gd name="connsiteY13" fmla="*/ 1535353 h 3632870"/>
              <a:gd name="connsiteX14" fmla="*/ 4939616 w 4941318"/>
              <a:gd name="connsiteY14" fmla="*/ 1317880 h 3632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941318" h="3632870">
                <a:moveTo>
                  <a:pt x="4927926" y="1168864"/>
                </a:moveTo>
                <a:lnTo>
                  <a:pt x="2839379" y="0"/>
                </a:lnTo>
                <a:lnTo>
                  <a:pt x="2749684" y="32885"/>
                </a:lnTo>
                <a:cubicBezTo>
                  <a:pt x="2592886" y="96836"/>
                  <a:pt x="2439564" y="170804"/>
                  <a:pt x="2288173" y="245542"/>
                </a:cubicBezTo>
                <a:cubicBezTo>
                  <a:pt x="2241829" y="268657"/>
                  <a:pt x="2190850" y="280985"/>
                  <a:pt x="2139871" y="282526"/>
                </a:cubicBezTo>
                <a:cubicBezTo>
                  <a:pt x="1929391" y="299862"/>
                  <a:pt x="1728566" y="233528"/>
                  <a:pt x="1534379" y="142964"/>
                </a:cubicBezTo>
                <a:lnTo>
                  <a:pt x="1471687" y="112214"/>
                </a:lnTo>
                <a:lnTo>
                  <a:pt x="0" y="2741851"/>
                </a:lnTo>
                <a:lnTo>
                  <a:pt x="75889" y="2813614"/>
                </a:lnTo>
                <a:cubicBezTo>
                  <a:pt x="200874" y="2922173"/>
                  <a:pt x="339979" y="3015860"/>
                  <a:pt x="485383" y="3093295"/>
                </a:cubicBezTo>
                <a:cubicBezTo>
                  <a:pt x="873130" y="3299788"/>
                  <a:pt x="1305676" y="3406116"/>
                  <a:pt x="1736677" y="3493953"/>
                </a:cubicBezTo>
                <a:cubicBezTo>
                  <a:pt x="2110520" y="3571002"/>
                  <a:pt x="2487453" y="3637266"/>
                  <a:pt x="2869020" y="3632642"/>
                </a:cubicBezTo>
                <a:cubicBezTo>
                  <a:pt x="3250587" y="3628020"/>
                  <a:pt x="3636789" y="3550970"/>
                  <a:pt x="3964288" y="3356805"/>
                </a:cubicBezTo>
                <a:cubicBezTo>
                  <a:pt x="4582211" y="2990049"/>
                  <a:pt x="4903530" y="2251914"/>
                  <a:pt x="4939061" y="1535353"/>
                </a:cubicBezTo>
                <a:cubicBezTo>
                  <a:pt x="4941765" y="1462926"/>
                  <a:pt x="4942150" y="1390307"/>
                  <a:pt x="4939616" y="1317880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39425C4-2CA7-B14F-B1C9-E368310CFE69}"/>
              </a:ext>
            </a:extLst>
          </p:cNvPr>
          <p:cNvSpPr/>
          <p:nvPr/>
        </p:nvSpPr>
        <p:spPr>
          <a:xfrm flipH="1">
            <a:off x="1756906" y="1520825"/>
            <a:ext cx="9919155" cy="4716463"/>
          </a:xfrm>
          <a:prstGeom prst="roundRect">
            <a:avLst>
              <a:gd name="adj" fmla="val 12403"/>
            </a:avLst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CF1E7575-2156-774A-8DBA-8C9928B31560}"/>
              </a:ext>
            </a:extLst>
          </p:cNvPr>
          <p:cNvSpPr/>
          <p:nvPr/>
        </p:nvSpPr>
        <p:spPr>
          <a:xfrm flipH="1">
            <a:off x="515936" y="0"/>
            <a:ext cx="4507564" cy="5526830"/>
          </a:xfrm>
          <a:custGeom>
            <a:avLst/>
            <a:gdLst>
              <a:gd name="connsiteX0" fmla="*/ 4507564 w 4507564"/>
              <a:gd name="connsiteY0" fmla="*/ 0 h 5526830"/>
              <a:gd name="connsiteX1" fmla="*/ 0 w 4507564"/>
              <a:gd name="connsiteY1" fmla="*/ 0 h 5526830"/>
              <a:gd name="connsiteX2" fmla="*/ 0 w 4507564"/>
              <a:gd name="connsiteY2" fmla="*/ 4967757 h 5526830"/>
              <a:gd name="connsiteX3" fmla="*/ 559073 w 4507564"/>
              <a:gd name="connsiteY3" fmla="*/ 5526830 h 5526830"/>
              <a:gd name="connsiteX4" fmla="*/ 3948491 w 4507564"/>
              <a:gd name="connsiteY4" fmla="*/ 5526830 h 5526830"/>
              <a:gd name="connsiteX5" fmla="*/ 4507564 w 4507564"/>
              <a:gd name="connsiteY5" fmla="*/ 4967757 h 5526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07564" h="5526830">
                <a:moveTo>
                  <a:pt x="4507564" y="0"/>
                </a:moveTo>
                <a:lnTo>
                  <a:pt x="0" y="0"/>
                </a:lnTo>
                <a:lnTo>
                  <a:pt x="0" y="4967757"/>
                </a:lnTo>
                <a:cubicBezTo>
                  <a:pt x="0" y="5276524"/>
                  <a:pt x="250306" y="5526830"/>
                  <a:pt x="559073" y="5526830"/>
                </a:cubicBezTo>
                <a:lnTo>
                  <a:pt x="3948491" y="5526830"/>
                </a:lnTo>
                <a:cubicBezTo>
                  <a:pt x="4257258" y="5526830"/>
                  <a:pt x="4507564" y="5276524"/>
                  <a:pt x="4507564" y="496775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7B8D9A-8017-354D-AB68-B24AF17FABF1}"/>
              </a:ext>
            </a:extLst>
          </p:cNvPr>
          <p:cNvSpPr/>
          <p:nvPr/>
        </p:nvSpPr>
        <p:spPr>
          <a:xfrm>
            <a:off x="1065782" y="2225197"/>
            <a:ext cx="2663135" cy="258532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7C0484E-01AA-324E-AF95-722A7F8ACE7B}"/>
              </a:ext>
            </a:extLst>
          </p:cNvPr>
          <p:cNvSpPr/>
          <p:nvPr/>
        </p:nvSpPr>
        <p:spPr>
          <a:xfrm>
            <a:off x="4365996" y="3066836"/>
            <a:ext cx="1372207" cy="137220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47946C-77CA-5D44-94F8-FADFC7A364A8}"/>
              </a:ext>
            </a:extLst>
          </p:cNvPr>
          <p:cNvGrpSpPr/>
          <p:nvPr/>
        </p:nvGrpSpPr>
        <p:grpSpPr>
          <a:xfrm>
            <a:off x="4809625" y="3502229"/>
            <a:ext cx="513300" cy="501420"/>
            <a:chOff x="3390900" y="2552700"/>
            <a:chExt cx="342900" cy="334963"/>
          </a:xfrm>
          <a:solidFill>
            <a:schemeClr val="bg1"/>
          </a:solidFill>
        </p:grpSpPr>
        <p:sp>
          <p:nvSpPr>
            <p:cNvPr id="9" name="Freeform 151">
              <a:extLst>
                <a:ext uri="{FF2B5EF4-FFF2-40B4-BE49-F238E27FC236}">
                  <a16:creationId xmlns:a16="http://schemas.microsoft.com/office/drawing/2014/main" id="{DEC48AE9-24D1-E84B-B2FC-78A4182E25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2555875"/>
              <a:ext cx="301625" cy="331788"/>
            </a:xfrm>
            <a:custGeom>
              <a:avLst/>
              <a:gdLst>
                <a:gd name="T0" fmla="*/ 75 w 80"/>
                <a:gd name="T1" fmla="*/ 36 h 88"/>
                <a:gd name="T2" fmla="*/ 51 w 80"/>
                <a:gd name="T3" fmla="*/ 49 h 88"/>
                <a:gd name="T4" fmla="*/ 45 w 80"/>
                <a:gd name="T5" fmla="*/ 47 h 88"/>
                <a:gd name="T6" fmla="*/ 32 w 80"/>
                <a:gd name="T7" fmla="*/ 61 h 88"/>
                <a:gd name="T8" fmla="*/ 29 w 80"/>
                <a:gd name="T9" fmla="*/ 61 h 88"/>
                <a:gd name="T10" fmla="*/ 29 w 80"/>
                <a:gd name="T11" fmla="*/ 58 h 88"/>
                <a:gd name="T12" fmla="*/ 42 w 80"/>
                <a:gd name="T13" fmla="*/ 45 h 88"/>
                <a:gd name="T14" fmla="*/ 38 w 80"/>
                <a:gd name="T15" fmla="*/ 25 h 88"/>
                <a:gd name="T16" fmla="*/ 54 w 80"/>
                <a:gd name="T17" fmla="*/ 6 h 88"/>
                <a:gd name="T18" fmla="*/ 56 w 80"/>
                <a:gd name="T19" fmla="*/ 6 h 88"/>
                <a:gd name="T20" fmla="*/ 56 w 80"/>
                <a:gd name="T21" fmla="*/ 15 h 88"/>
                <a:gd name="T22" fmla="*/ 65 w 80"/>
                <a:gd name="T23" fmla="*/ 2 h 88"/>
                <a:gd name="T24" fmla="*/ 65 w 80"/>
                <a:gd name="T25" fmla="*/ 2 h 88"/>
                <a:gd name="T26" fmla="*/ 66 w 80"/>
                <a:gd name="T27" fmla="*/ 1 h 88"/>
                <a:gd name="T28" fmla="*/ 69 w 80"/>
                <a:gd name="T29" fmla="*/ 0 h 88"/>
                <a:gd name="T30" fmla="*/ 2 w 80"/>
                <a:gd name="T31" fmla="*/ 0 h 88"/>
                <a:gd name="T32" fmla="*/ 0 w 80"/>
                <a:gd name="T33" fmla="*/ 2 h 88"/>
                <a:gd name="T34" fmla="*/ 0 w 80"/>
                <a:gd name="T35" fmla="*/ 86 h 88"/>
                <a:gd name="T36" fmla="*/ 2 w 80"/>
                <a:gd name="T37" fmla="*/ 88 h 88"/>
                <a:gd name="T38" fmla="*/ 78 w 80"/>
                <a:gd name="T39" fmla="*/ 88 h 88"/>
                <a:gd name="T40" fmla="*/ 80 w 80"/>
                <a:gd name="T41" fmla="*/ 86 h 88"/>
                <a:gd name="T42" fmla="*/ 80 w 80"/>
                <a:gd name="T43" fmla="*/ 31 h 88"/>
                <a:gd name="T44" fmla="*/ 75 w 80"/>
                <a:gd name="T45" fmla="*/ 36 h 88"/>
                <a:gd name="T46" fmla="*/ 76 w 80"/>
                <a:gd name="T47" fmla="*/ 82 h 88"/>
                <a:gd name="T48" fmla="*/ 74 w 80"/>
                <a:gd name="T49" fmla="*/ 84 h 88"/>
                <a:gd name="T50" fmla="*/ 6 w 80"/>
                <a:gd name="T51" fmla="*/ 84 h 88"/>
                <a:gd name="T52" fmla="*/ 5 w 80"/>
                <a:gd name="T53" fmla="*/ 83 h 88"/>
                <a:gd name="T54" fmla="*/ 4 w 80"/>
                <a:gd name="T55" fmla="*/ 82 h 88"/>
                <a:gd name="T56" fmla="*/ 4 w 80"/>
                <a:gd name="T57" fmla="*/ 6 h 88"/>
                <a:gd name="T58" fmla="*/ 6 w 80"/>
                <a:gd name="T59" fmla="*/ 4 h 88"/>
                <a:gd name="T60" fmla="*/ 42 w 80"/>
                <a:gd name="T61" fmla="*/ 4 h 88"/>
                <a:gd name="T62" fmla="*/ 44 w 80"/>
                <a:gd name="T63" fmla="*/ 6 h 88"/>
                <a:gd name="T64" fmla="*/ 42 w 80"/>
                <a:gd name="T65" fmla="*/ 8 h 88"/>
                <a:gd name="T66" fmla="*/ 8 w 80"/>
                <a:gd name="T67" fmla="*/ 8 h 88"/>
                <a:gd name="T68" fmla="*/ 8 w 80"/>
                <a:gd name="T69" fmla="*/ 80 h 88"/>
                <a:gd name="T70" fmla="*/ 72 w 80"/>
                <a:gd name="T71" fmla="*/ 80 h 88"/>
                <a:gd name="T72" fmla="*/ 72 w 80"/>
                <a:gd name="T73" fmla="*/ 46 h 88"/>
                <a:gd name="T74" fmla="*/ 74 w 80"/>
                <a:gd name="T75" fmla="*/ 44 h 88"/>
                <a:gd name="T76" fmla="*/ 76 w 80"/>
                <a:gd name="T77" fmla="*/ 46 h 88"/>
                <a:gd name="T78" fmla="*/ 76 w 80"/>
                <a:gd name="T7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88">
                  <a:moveTo>
                    <a:pt x="75" y="36"/>
                  </a:moveTo>
                  <a:cubicBezTo>
                    <a:pt x="67" y="44"/>
                    <a:pt x="59" y="49"/>
                    <a:pt x="51" y="49"/>
                  </a:cubicBezTo>
                  <a:cubicBezTo>
                    <a:pt x="49" y="49"/>
                    <a:pt x="47" y="48"/>
                    <a:pt x="45" y="47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1" y="62"/>
                    <a:pt x="30" y="62"/>
                    <a:pt x="29" y="61"/>
                  </a:cubicBezTo>
                  <a:cubicBezTo>
                    <a:pt x="28" y="60"/>
                    <a:pt x="28" y="59"/>
                    <a:pt x="29" y="58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37" y="40"/>
                    <a:pt x="36" y="33"/>
                    <a:pt x="38" y="25"/>
                  </a:cubicBezTo>
                  <a:cubicBezTo>
                    <a:pt x="41" y="16"/>
                    <a:pt x="50" y="7"/>
                    <a:pt x="54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0" y="13"/>
                    <a:pt x="64" y="6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78" y="88"/>
                    <a:pt x="78" y="88"/>
                    <a:pt x="78" y="88"/>
                  </a:cubicBezTo>
                  <a:cubicBezTo>
                    <a:pt x="79" y="88"/>
                    <a:pt x="80" y="87"/>
                    <a:pt x="80" y="86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9" y="33"/>
                    <a:pt x="77" y="35"/>
                    <a:pt x="75" y="36"/>
                  </a:cubicBezTo>
                  <a:close/>
                  <a:moveTo>
                    <a:pt x="76" y="82"/>
                  </a:moveTo>
                  <a:cubicBezTo>
                    <a:pt x="76" y="83"/>
                    <a:pt x="75" y="84"/>
                    <a:pt x="74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5" y="84"/>
                    <a:pt x="5" y="84"/>
                    <a:pt x="5" y="83"/>
                  </a:cubicBezTo>
                  <a:cubicBezTo>
                    <a:pt x="4" y="83"/>
                    <a:pt x="4" y="83"/>
                    <a:pt x="4" y="8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4"/>
                    <a:pt x="44" y="5"/>
                    <a:pt x="44" y="6"/>
                  </a:cubicBezTo>
                  <a:cubicBezTo>
                    <a:pt x="44" y="7"/>
                    <a:pt x="43" y="8"/>
                    <a:pt x="4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3" y="44"/>
                    <a:pt x="74" y="44"/>
                  </a:cubicBezTo>
                  <a:cubicBezTo>
                    <a:pt x="75" y="44"/>
                    <a:pt x="76" y="45"/>
                    <a:pt x="76" y="46"/>
                  </a:cubicBezTo>
                  <a:lnTo>
                    <a:pt x="7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152">
              <a:extLst>
                <a:ext uri="{FF2B5EF4-FFF2-40B4-BE49-F238E27FC236}">
                  <a16:creationId xmlns:a16="http://schemas.microsoft.com/office/drawing/2014/main" id="{08B53A68-9903-7241-8DEC-6ECA78938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75" y="2552700"/>
              <a:ext cx="200025" cy="173038"/>
            </a:xfrm>
            <a:custGeom>
              <a:avLst/>
              <a:gdLst>
                <a:gd name="T0" fmla="*/ 30 w 53"/>
                <a:gd name="T1" fmla="*/ 6 h 46"/>
                <a:gd name="T2" fmla="*/ 14 w 53"/>
                <a:gd name="T3" fmla="*/ 20 h 46"/>
                <a:gd name="T4" fmla="*/ 14 w 53"/>
                <a:gd name="T5" fmla="*/ 13 h 46"/>
                <a:gd name="T6" fmla="*/ 5 w 53"/>
                <a:gd name="T7" fmla="*/ 40 h 46"/>
                <a:gd name="T8" fmla="*/ 7 w 53"/>
                <a:gd name="T9" fmla="*/ 43 h 46"/>
                <a:gd name="T10" fmla="*/ 28 w 53"/>
                <a:gd name="T11" fmla="*/ 23 h 46"/>
                <a:gd name="T12" fmla="*/ 30 w 53"/>
                <a:gd name="T13" fmla="*/ 23 h 46"/>
                <a:gd name="T14" fmla="*/ 30 w 53"/>
                <a:gd name="T15" fmla="*/ 25 h 46"/>
                <a:gd name="T16" fmla="*/ 11 w 53"/>
                <a:gd name="T17" fmla="*/ 45 h 46"/>
                <a:gd name="T18" fmla="*/ 19 w 53"/>
                <a:gd name="T19" fmla="*/ 45 h 46"/>
                <a:gd name="T20" fmla="*/ 36 w 53"/>
                <a:gd name="T21" fmla="*/ 33 h 46"/>
                <a:gd name="T22" fmla="*/ 53 w 53"/>
                <a:gd name="T23" fmla="*/ 0 h 46"/>
                <a:gd name="T24" fmla="*/ 30 w 53"/>
                <a:gd name="T2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46">
                  <a:moveTo>
                    <a:pt x="30" y="6"/>
                  </a:moveTo>
                  <a:cubicBezTo>
                    <a:pt x="30" y="6"/>
                    <a:pt x="26" y="22"/>
                    <a:pt x="14" y="2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0" y="26"/>
                    <a:pt x="2" y="36"/>
                    <a:pt x="5" y="40"/>
                  </a:cubicBezTo>
                  <a:cubicBezTo>
                    <a:pt x="5" y="41"/>
                    <a:pt x="6" y="42"/>
                    <a:pt x="7" y="4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2"/>
                    <a:pt x="30" y="22"/>
                    <a:pt x="30" y="23"/>
                  </a:cubicBezTo>
                  <a:cubicBezTo>
                    <a:pt x="31" y="23"/>
                    <a:pt x="31" y="25"/>
                    <a:pt x="30" y="2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3" y="46"/>
                    <a:pt x="15" y="46"/>
                    <a:pt x="19" y="45"/>
                  </a:cubicBezTo>
                  <a:cubicBezTo>
                    <a:pt x="28" y="42"/>
                    <a:pt x="36" y="33"/>
                    <a:pt x="36" y="33"/>
                  </a:cubicBezTo>
                  <a:cubicBezTo>
                    <a:pt x="46" y="23"/>
                    <a:pt x="53" y="0"/>
                    <a:pt x="53" y="0"/>
                  </a:cubicBezTo>
                  <a:cubicBezTo>
                    <a:pt x="44" y="1"/>
                    <a:pt x="30" y="6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E6E33192-6C12-BD49-8E5A-044CB61F86DE}"/>
              </a:ext>
            </a:extLst>
          </p:cNvPr>
          <p:cNvSpPr/>
          <p:nvPr/>
        </p:nvSpPr>
        <p:spPr>
          <a:xfrm>
            <a:off x="6384145" y="2004330"/>
            <a:ext cx="4742072" cy="78105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93E2BF6-F179-DF41-B039-2FE947809D81}"/>
              </a:ext>
            </a:extLst>
          </p:cNvPr>
          <p:cNvSpPr/>
          <p:nvPr/>
        </p:nvSpPr>
        <p:spPr>
          <a:xfrm>
            <a:off x="6375281" y="2004331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5EF901F-9C89-1640-9958-005037FA70F7}"/>
              </a:ext>
            </a:extLst>
          </p:cNvPr>
          <p:cNvSpPr/>
          <p:nvPr/>
        </p:nvSpPr>
        <p:spPr>
          <a:xfrm flipH="1">
            <a:off x="6527979" y="2120027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A83596B-818D-8849-9DD1-4CF927CE7834}"/>
              </a:ext>
            </a:extLst>
          </p:cNvPr>
          <p:cNvSpPr/>
          <p:nvPr/>
        </p:nvSpPr>
        <p:spPr>
          <a:xfrm>
            <a:off x="7406643" y="2287133"/>
            <a:ext cx="30284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D1C63CA-6EC9-044F-B02E-3B44AF1299B2}"/>
              </a:ext>
            </a:extLst>
          </p:cNvPr>
          <p:cNvSpPr/>
          <p:nvPr/>
        </p:nvSpPr>
        <p:spPr>
          <a:xfrm>
            <a:off x="6384145" y="2909719"/>
            <a:ext cx="4742072" cy="78105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245B5F8-EFD2-8C43-9922-74C1E5E042E6}"/>
              </a:ext>
            </a:extLst>
          </p:cNvPr>
          <p:cNvSpPr/>
          <p:nvPr/>
        </p:nvSpPr>
        <p:spPr>
          <a:xfrm>
            <a:off x="6375281" y="2909720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5B98269-9282-3D47-B0EF-D281E7B7C365}"/>
              </a:ext>
            </a:extLst>
          </p:cNvPr>
          <p:cNvSpPr/>
          <p:nvPr/>
        </p:nvSpPr>
        <p:spPr>
          <a:xfrm flipH="1">
            <a:off x="6527979" y="3025416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3D1846A-DF49-8E44-9E2B-B1060E751FAD}"/>
              </a:ext>
            </a:extLst>
          </p:cNvPr>
          <p:cNvSpPr/>
          <p:nvPr/>
        </p:nvSpPr>
        <p:spPr>
          <a:xfrm>
            <a:off x="7406643" y="3192522"/>
            <a:ext cx="30284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142FFFE-ED43-A94B-A8C5-A4348276F0FA}"/>
              </a:ext>
            </a:extLst>
          </p:cNvPr>
          <p:cNvSpPr/>
          <p:nvPr/>
        </p:nvSpPr>
        <p:spPr>
          <a:xfrm>
            <a:off x="6384145" y="3815108"/>
            <a:ext cx="4742072" cy="78105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64AA66-BC0E-434F-8731-BEA3CDBE80B5}"/>
              </a:ext>
            </a:extLst>
          </p:cNvPr>
          <p:cNvSpPr/>
          <p:nvPr/>
        </p:nvSpPr>
        <p:spPr>
          <a:xfrm>
            <a:off x="6375281" y="3815109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3EF1312-3F97-2040-936F-5B0ED2053A0F}"/>
              </a:ext>
            </a:extLst>
          </p:cNvPr>
          <p:cNvSpPr/>
          <p:nvPr/>
        </p:nvSpPr>
        <p:spPr>
          <a:xfrm flipH="1">
            <a:off x="6527979" y="3930805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6313CD7-C7C2-004D-99A6-17574AFFB7BA}"/>
              </a:ext>
            </a:extLst>
          </p:cNvPr>
          <p:cNvSpPr/>
          <p:nvPr/>
        </p:nvSpPr>
        <p:spPr>
          <a:xfrm>
            <a:off x="7406643" y="4097911"/>
            <a:ext cx="30284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E1FE0021-70FC-EC4F-A825-28A3CE21CE6C}"/>
              </a:ext>
            </a:extLst>
          </p:cNvPr>
          <p:cNvSpPr/>
          <p:nvPr/>
        </p:nvSpPr>
        <p:spPr>
          <a:xfrm>
            <a:off x="6384145" y="4720497"/>
            <a:ext cx="4742072" cy="78105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EF2F694-A3D1-A041-A4EC-4DDE28400405}"/>
              </a:ext>
            </a:extLst>
          </p:cNvPr>
          <p:cNvSpPr/>
          <p:nvPr/>
        </p:nvSpPr>
        <p:spPr>
          <a:xfrm>
            <a:off x="6375281" y="4720498"/>
            <a:ext cx="781050" cy="7810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8C7BCF-2539-144C-8EC8-91DDCF60614C}"/>
              </a:ext>
            </a:extLst>
          </p:cNvPr>
          <p:cNvSpPr/>
          <p:nvPr/>
        </p:nvSpPr>
        <p:spPr>
          <a:xfrm flipH="1">
            <a:off x="6527979" y="4836194"/>
            <a:ext cx="4756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3200" b="1" i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a</a:t>
            </a:r>
            <a:endParaRPr lang="en-US" sz="3200" b="1" i="1" dirty="0">
              <a:solidFill>
                <a:schemeClr val="accent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63FFF8-937F-A246-AFCE-56CBBB83B245}"/>
              </a:ext>
            </a:extLst>
          </p:cNvPr>
          <p:cNvSpPr/>
          <p:nvPr/>
        </p:nvSpPr>
        <p:spPr>
          <a:xfrm>
            <a:off x="7406643" y="5003300"/>
            <a:ext cx="30284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r </a:t>
            </a:r>
            <a:r>
              <a:rPr lang="en-ID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4811C4F2-EC69-C844-AE33-CA2BBE8F7622}"/>
              </a:ext>
            </a:extLst>
          </p:cNvPr>
          <p:cNvSpPr/>
          <p:nvPr/>
        </p:nvSpPr>
        <p:spPr>
          <a:xfrm rot="20765440" flipH="1">
            <a:off x="-315258" y="-230272"/>
            <a:ext cx="2768932" cy="2285179"/>
          </a:xfrm>
          <a:custGeom>
            <a:avLst/>
            <a:gdLst>
              <a:gd name="connsiteX0" fmla="*/ 2203013 w 2768932"/>
              <a:gd name="connsiteY0" fmla="*/ 0 h 2285179"/>
              <a:gd name="connsiteX1" fmla="*/ 0 w 2768932"/>
              <a:gd name="connsiteY1" fmla="*/ 545572 h 2285179"/>
              <a:gd name="connsiteX2" fmla="*/ 29526 w 2768932"/>
              <a:gd name="connsiteY2" fmla="*/ 710651 h 2285179"/>
              <a:gd name="connsiteX3" fmla="*/ 122136 w 2768932"/>
              <a:gd name="connsiteY3" fmla="*/ 1007106 h 2285179"/>
              <a:gd name="connsiteX4" fmla="*/ 886318 w 2768932"/>
              <a:gd name="connsiteY4" fmla="*/ 1822896 h 2285179"/>
              <a:gd name="connsiteX5" fmla="*/ 1972261 w 2768932"/>
              <a:gd name="connsiteY5" fmla="*/ 2170609 h 2285179"/>
              <a:gd name="connsiteX6" fmla="*/ 2707347 w 2768932"/>
              <a:gd name="connsiteY6" fmla="*/ 2283261 h 2285179"/>
              <a:gd name="connsiteX7" fmla="*/ 2768932 w 2768932"/>
              <a:gd name="connsiteY7" fmla="*/ 2285179 h 228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68932" h="2285179">
                <a:moveTo>
                  <a:pt x="2203013" y="0"/>
                </a:moveTo>
                <a:lnTo>
                  <a:pt x="0" y="545572"/>
                </a:lnTo>
                <a:lnTo>
                  <a:pt x="29526" y="710651"/>
                </a:lnTo>
                <a:cubicBezTo>
                  <a:pt x="54014" y="808090"/>
                  <a:pt x="85268" y="906470"/>
                  <a:pt x="122136" y="1007106"/>
                </a:cubicBezTo>
                <a:cubicBezTo>
                  <a:pt x="252182" y="1364181"/>
                  <a:pt x="549810" y="1643690"/>
                  <a:pt x="886318" y="1822896"/>
                </a:cubicBezTo>
                <a:cubicBezTo>
                  <a:pt x="1222827" y="2002102"/>
                  <a:pt x="1598214" y="2094380"/>
                  <a:pt x="1972261" y="2170609"/>
                </a:cubicBezTo>
                <a:cubicBezTo>
                  <a:pt x="2215593" y="2220760"/>
                  <a:pt x="2460433" y="2265645"/>
                  <a:pt x="2707347" y="2283261"/>
                </a:cubicBezTo>
                <a:lnTo>
                  <a:pt x="2768932" y="2285179"/>
                </a:lnTo>
                <a:close/>
              </a:path>
            </a:pathLst>
          </a:custGeom>
          <a:pattFill prst="pct8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026DE25-C2F8-DC4B-B020-3FF03C638C0C}"/>
              </a:ext>
            </a:extLst>
          </p:cNvPr>
          <p:cNvSpPr/>
          <p:nvPr/>
        </p:nvSpPr>
        <p:spPr>
          <a:xfrm>
            <a:off x="1712908" y="804515"/>
            <a:ext cx="673366" cy="673366"/>
          </a:xfrm>
          <a:prstGeom prst="ellipse">
            <a:avLst/>
          </a:prstGeom>
          <a:noFill/>
          <a:ln w="165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250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058DB8-5BB8-6A44-A6FD-551236B76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171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Freeform 54">
            <a:extLst>
              <a:ext uri="{FF2B5EF4-FFF2-40B4-BE49-F238E27FC236}">
                <a16:creationId xmlns:a16="http://schemas.microsoft.com/office/drawing/2014/main" id="{9336689E-6DB9-9141-8592-3D5288C5AF22}"/>
              </a:ext>
            </a:extLst>
          </p:cNvPr>
          <p:cNvSpPr/>
          <p:nvPr/>
        </p:nvSpPr>
        <p:spPr>
          <a:xfrm rot="13592941" flipH="1">
            <a:off x="-128731" y="-1717314"/>
            <a:ext cx="5079646" cy="4220014"/>
          </a:xfrm>
          <a:custGeom>
            <a:avLst/>
            <a:gdLst>
              <a:gd name="connsiteX0" fmla="*/ 0 w 5079646"/>
              <a:gd name="connsiteY0" fmla="*/ 0 h 4220014"/>
              <a:gd name="connsiteX1" fmla="*/ 3997789 w 5079646"/>
              <a:gd name="connsiteY1" fmla="*/ 4220014 h 4220014"/>
              <a:gd name="connsiteX2" fmla="*/ 4027512 w 5079646"/>
              <a:gd name="connsiteY2" fmla="*/ 4200702 h 4220014"/>
              <a:gd name="connsiteX3" fmla="*/ 5076899 w 5079646"/>
              <a:gd name="connsiteY3" fmla="*/ 2073137 h 4220014"/>
              <a:gd name="connsiteX4" fmla="*/ 4934036 w 5079646"/>
              <a:gd name="connsiteY4" fmla="*/ 1034307 h 4220014"/>
              <a:gd name="connsiteX5" fmla="*/ 4289270 w 5079646"/>
              <a:gd name="connsiteY5" fmla="*/ 222370 h 4220014"/>
              <a:gd name="connsiteX6" fmla="*/ 2999735 w 5079646"/>
              <a:gd name="connsiteY6" fmla="*/ 59232 h 4220014"/>
              <a:gd name="connsiteX7" fmla="*/ 1851185 w 5079646"/>
              <a:gd name="connsiteY7" fmla="*/ 503641 h 4220014"/>
              <a:gd name="connsiteX8" fmla="*/ 1670725 w 5079646"/>
              <a:gd name="connsiteY8" fmla="*/ 548645 h 4220014"/>
              <a:gd name="connsiteX9" fmla="*/ 933937 w 5079646"/>
              <a:gd name="connsiteY9" fmla="*/ 378820 h 4220014"/>
              <a:gd name="connsiteX10" fmla="*/ 886139 w 5079646"/>
              <a:gd name="connsiteY10" fmla="*/ 355375 h 4220014"/>
              <a:gd name="connsiteX11" fmla="*/ 596553 w 5079646"/>
              <a:gd name="connsiteY11" fmla="*/ 629712 h 4220014"/>
              <a:gd name="connsiteX12" fmla="*/ 2 w 5079646"/>
              <a:gd name="connsiteY12" fmla="*/ 0 h 422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79646" h="4220014">
                <a:moveTo>
                  <a:pt x="0" y="0"/>
                </a:moveTo>
                <a:lnTo>
                  <a:pt x="3997789" y="4220014"/>
                </a:lnTo>
                <a:lnTo>
                  <a:pt x="4027512" y="4200702"/>
                </a:lnTo>
                <a:cubicBezTo>
                  <a:pt x="4690185" y="3731103"/>
                  <a:pt x="5036366" y="2890584"/>
                  <a:pt x="5076899" y="2073137"/>
                </a:cubicBezTo>
                <a:cubicBezTo>
                  <a:pt x="5090058" y="1720611"/>
                  <a:pt x="5058101" y="1364333"/>
                  <a:pt x="4934036" y="1034307"/>
                </a:cubicBezTo>
                <a:cubicBezTo>
                  <a:pt x="4809970" y="704283"/>
                  <a:pt x="4590034" y="406134"/>
                  <a:pt x="4289270" y="222370"/>
                </a:cubicBezTo>
                <a:cubicBezTo>
                  <a:pt x="3909552" y="-6398"/>
                  <a:pt x="3433966" y="-30775"/>
                  <a:pt x="2999735" y="59232"/>
                </a:cubicBezTo>
                <a:cubicBezTo>
                  <a:pt x="2597460" y="143614"/>
                  <a:pt x="2219624" y="321752"/>
                  <a:pt x="1851185" y="503641"/>
                </a:cubicBezTo>
                <a:cubicBezTo>
                  <a:pt x="1794792" y="531768"/>
                  <a:pt x="1732759" y="546770"/>
                  <a:pt x="1670725" y="548645"/>
                </a:cubicBezTo>
                <a:cubicBezTo>
                  <a:pt x="1414604" y="569741"/>
                  <a:pt x="1170232" y="489021"/>
                  <a:pt x="933937" y="378820"/>
                </a:cubicBezTo>
                <a:lnTo>
                  <a:pt x="886139" y="355375"/>
                </a:lnTo>
                <a:lnTo>
                  <a:pt x="596553" y="629712"/>
                </a:lnTo>
                <a:lnTo>
                  <a:pt x="2" y="0"/>
                </a:lnTo>
                <a:close/>
              </a:path>
            </a:pathLst>
          </a:custGeom>
          <a:pattFill prst="pct10">
            <a:fgClr>
              <a:schemeClr val="accent4"/>
            </a:fgClr>
            <a:bgClr>
              <a:schemeClr val="bg1"/>
            </a:bgClr>
          </a:pattFill>
          <a:ln w="203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6D956B7-FAFD-1F4B-A05C-FD5763F9D5FF}"/>
              </a:ext>
            </a:extLst>
          </p:cNvPr>
          <p:cNvSpPr/>
          <p:nvPr/>
        </p:nvSpPr>
        <p:spPr>
          <a:xfrm>
            <a:off x="515938" y="3209364"/>
            <a:ext cx="11160124" cy="3027923"/>
          </a:xfrm>
          <a:prstGeom prst="roundRect">
            <a:avLst>
              <a:gd name="adj" fmla="val 13432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D156D883-748C-5948-88F9-439E35A4E686}"/>
              </a:ext>
            </a:extLst>
          </p:cNvPr>
          <p:cNvSpPr/>
          <p:nvPr/>
        </p:nvSpPr>
        <p:spPr>
          <a:xfrm rot="1754024" flipH="1">
            <a:off x="-1115764" y="748031"/>
            <a:ext cx="4943865" cy="3780611"/>
          </a:xfrm>
          <a:custGeom>
            <a:avLst/>
            <a:gdLst>
              <a:gd name="connsiteX0" fmla="*/ 4943865 w 4943865"/>
              <a:gd name="connsiteY0" fmla="*/ 250318 h 3780611"/>
              <a:gd name="connsiteX1" fmla="*/ 4688834 w 4943865"/>
              <a:gd name="connsiteY1" fmla="*/ 107589 h 3780611"/>
              <a:gd name="connsiteX2" fmla="*/ 4616735 w 4943865"/>
              <a:gd name="connsiteY2" fmla="*/ 80305 h 3780611"/>
              <a:gd name="connsiteX3" fmla="*/ 3804046 w 4943865"/>
              <a:gd name="connsiteY3" fmla="*/ 56901 h 3780611"/>
              <a:gd name="connsiteX4" fmla="*/ 2860169 w 4943865"/>
              <a:gd name="connsiteY4" fmla="*/ 422116 h 3780611"/>
              <a:gd name="connsiteX5" fmla="*/ 2711867 w 4943865"/>
              <a:gd name="connsiteY5" fmla="*/ 459100 h 3780611"/>
              <a:gd name="connsiteX6" fmla="*/ 1763356 w 4943865"/>
              <a:gd name="connsiteY6" fmla="*/ 143197 h 3780611"/>
              <a:gd name="connsiteX7" fmla="*/ 834928 w 4943865"/>
              <a:gd name="connsiteY7" fmla="*/ 78475 h 3780611"/>
              <a:gd name="connsiteX8" fmla="*/ 62524 w 4943865"/>
              <a:gd name="connsiteY8" fmla="*/ 966087 h 3780611"/>
              <a:gd name="connsiteX9" fmla="*/ 176840 w 4943865"/>
              <a:gd name="connsiteY9" fmla="*/ 2329864 h 3780611"/>
              <a:gd name="connsiteX10" fmla="*/ 1057379 w 4943865"/>
              <a:gd name="connsiteY10" fmla="*/ 3269869 h 3780611"/>
              <a:gd name="connsiteX11" fmla="*/ 2308673 w 4943865"/>
              <a:gd name="connsiteY11" fmla="*/ 3670527 h 3780611"/>
              <a:gd name="connsiteX12" fmla="*/ 2871948 w 4943865"/>
              <a:gd name="connsiteY12" fmla="*/ 3770499 h 3780611"/>
              <a:gd name="connsiteX13" fmla="*/ 2968123 w 4943865"/>
              <a:gd name="connsiteY13" fmla="*/ 3780611 h 3780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43865" h="3780611">
                <a:moveTo>
                  <a:pt x="4943865" y="250318"/>
                </a:moveTo>
                <a:lnTo>
                  <a:pt x="4688834" y="107589"/>
                </a:lnTo>
                <a:lnTo>
                  <a:pt x="4616735" y="80305"/>
                </a:lnTo>
                <a:cubicBezTo>
                  <a:pt x="4358438" y="-1175"/>
                  <a:pt x="4071683" y="1425"/>
                  <a:pt x="3804046" y="56901"/>
                </a:cubicBezTo>
                <a:cubicBezTo>
                  <a:pt x="3473457" y="126246"/>
                  <a:pt x="3162951" y="272640"/>
                  <a:pt x="2860169" y="422116"/>
                </a:cubicBezTo>
                <a:cubicBezTo>
                  <a:pt x="2813825" y="445231"/>
                  <a:pt x="2762846" y="457559"/>
                  <a:pt x="2711867" y="459100"/>
                </a:cubicBezTo>
                <a:cubicBezTo>
                  <a:pt x="2375099" y="486838"/>
                  <a:pt x="2063048" y="300378"/>
                  <a:pt x="1763356" y="143197"/>
                </a:cubicBezTo>
                <a:cubicBezTo>
                  <a:pt x="1463664" y="-13985"/>
                  <a:pt x="1146979" y="-50968"/>
                  <a:pt x="834928" y="78475"/>
                </a:cubicBezTo>
                <a:cubicBezTo>
                  <a:pt x="493526" y="220246"/>
                  <a:pt x="153668" y="610117"/>
                  <a:pt x="62524" y="966087"/>
                </a:cubicBezTo>
                <a:cubicBezTo>
                  <a:pt x="-59515" y="1443793"/>
                  <a:pt x="6912" y="1866025"/>
                  <a:pt x="176840" y="2329864"/>
                </a:cubicBezTo>
                <a:cubicBezTo>
                  <a:pt x="326686" y="2741309"/>
                  <a:pt x="669633" y="3063377"/>
                  <a:pt x="1057379" y="3269869"/>
                </a:cubicBezTo>
                <a:cubicBezTo>
                  <a:pt x="1445126" y="3476363"/>
                  <a:pt x="1877672" y="3582690"/>
                  <a:pt x="2308673" y="3670527"/>
                </a:cubicBezTo>
                <a:cubicBezTo>
                  <a:pt x="2495594" y="3709052"/>
                  <a:pt x="2683288" y="3744880"/>
                  <a:pt x="2871948" y="3770499"/>
                </a:cubicBezTo>
                <a:lnTo>
                  <a:pt x="2968123" y="3780611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0CB7A2D-D223-F944-B652-BA35F69E2CC6}"/>
              </a:ext>
            </a:extLst>
          </p:cNvPr>
          <p:cNvSpPr/>
          <p:nvPr/>
        </p:nvSpPr>
        <p:spPr>
          <a:xfrm>
            <a:off x="1673621" y="1614353"/>
            <a:ext cx="2034780" cy="203478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F4448B2-E850-834E-9F4A-2F323B3A1B8A}"/>
              </a:ext>
            </a:extLst>
          </p:cNvPr>
          <p:cNvSpPr/>
          <p:nvPr/>
        </p:nvSpPr>
        <p:spPr>
          <a:xfrm>
            <a:off x="1893756" y="1834488"/>
            <a:ext cx="1594512" cy="159451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749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4F343D-1753-2E4C-A3D3-0C5CF051F4B2}"/>
              </a:ext>
            </a:extLst>
          </p:cNvPr>
          <p:cNvSpPr/>
          <p:nvPr/>
        </p:nvSpPr>
        <p:spPr>
          <a:xfrm>
            <a:off x="5594121" y="1119197"/>
            <a:ext cx="5574622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spAutoFit/>
          </a:bodyPr>
          <a:lstStyle/>
          <a:p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8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8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8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4A64C55-2109-B140-BEC9-617B7DB678A4}"/>
              </a:ext>
            </a:extLst>
          </p:cNvPr>
          <p:cNvCxnSpPr>
            <a:cxnSpLocks/>
          </p:cNvCxnSpPr>
          <p:nvPr/>
        </p:nvCxnSpPr>
        <p:spPr>
          <a:xfrm>
            <a:off x="1108919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20D78C2-3E5B-C440-BDF2-625D6289C7E9}"/>
              </a:ext>
            </a:extLst>
          </p:cNvPr>
          <p:cNvCxnSpPr>
            <a:cxnSpLocks/>
          </p:cNvCxnSpPr>
          <p:nvPr/>
        </p:nvCxnSpPr>
        <p:spPr>
          <a:xfrm>
            <a:off x="2034010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1984CC3-263A-F645-B091-7A0AD6347A80}"/>
              </a:ext>
            </a:extLst>
          </p:cNvPr>
          <p:cNvCxnSpPr>
            <a:cxnSpLocks/>
          </p:cNvCxnSpPr>
          <p:nvPr/>
        </p:nvCxnSpPr>
        <p:spPr>
          <a:xfrm>
            <a:off x="2959101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330C405-0C15-D841-80DD-48B19C956371}"/>
              </a:ext>
            </a:extLst>
          </p:cNvPr>
          <p:cNvCxnSpPr>
            <a:cxnSpLocks/>
          </p:cNvCxnSpPr>
          <p:nvPr/>
        </p:nvCxnSpPr>
        <p:spPr>
          <a:xfrm>
            <a:off x="3884192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4B843C8-F520-594A-AF34-75255ED82EA1}"/>
              </a:ext>
            </a:extLst>
          </p:cNvPr>
          <p:cNvCxnSpPr>
            <a:cxnSpLocks/>
          </p:cNvCxnSpPr>
          <p:nvPr/>
        </p:nvCxnSpPr>
        <p:spPr>
          <a:xfrm>
            <a:off x="4809284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8B83AA4-A8FC-E84E-8DF1-4995A4E77D4A}"/>
              </a:ext>
            </a:extLst>
          </p:cNvPr>
          <p:cNvCxnSpPr>
            <a:cxnSpLocks/>
          </p:cNvCxnSpPr>
          <p:nvPr/>
        </p:nvCxnSpPr>
        <p:spPr>
          <a:xfrm>
            <a:off x="6671519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D9DEB48-BE91-E244-8B17-ABF69676CEFA}"/>
              </a:ext>
            </a:extLst>
          </p:cNvPr>
          <p:cNvCxnSpPr>
            <a:cxnSpLocks/>
          </p:cNvCxnSpPr>
          <p:nvPr/>
        </p:nvCxnSpPr>
        <p:spPr>
          <a:xfrm>
            <a:off x="7596610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3BF3B35-7BDE-8647-AE94-6BFA5E22A47B}"/>
              </a:ext>
            </a:extLst>
          </p:cNvPr>
          <p:cNvCxnSpPr>
            <a:cxnSpLocks/>
          </p:cNvCxnSpPr>
          <p:nvPr/>
        </p:nvCxnSpPr>
        <p:spPr>
          <a:xfrm>
            <a:off x="8521701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DD5950E-C371-3946-BAA9-CECE7CCD9DEF}"/>
              </a:ext>
            </a:extLst>
          </p:cNvPr>
          <p:cNvCxnSpPr>
            <a:cxnSpLocks/>
          </p:cNvCxnSpPr>
          <p:nvPr/>
        </p:nvCxnSpPr>
        <p:spPr>
          <a:xfrm>
            <a:off x="9446792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4186861-EB65-DD49-9472-6FAF7E449A40}"/>
              </a:ext>
            </a:extLst>
          </p:cNvPr>
          <p:cNvCxnSpPr>
            <a:cxnSpLocks/>
          </p:cNvCxnSpPr>
          <p:nvPr/>
        </p:nvCxnSpPr>
        <p:spPr>
          <a:xfrm>
            <a:off x="10371884" y="563033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90B0499-6042-B845-9399-B42B92B6E163}"/>
              </a:ext>
            </a:extLst>
          </p:cNvPr>
          <p:cNvCxnSpPr>
            <a:cxnSpLocks/>
          </p:cNvCxnSpPr>
          <p:nvPr/>
        </p:nvCxnSpPr>
        <p:spPr>
          <a:xfrm>
            <a:off x="5532534" y="446828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80F2FDB-1F12-D34F-B685-957098134CB1}"/>
              </a:ext>
            </a:extLst>
          </p:cNvPr>
          <p:cNvCxnSpPr>
            <a:cxnSpLocks/>
          </p:cNvCxnSpPr>
          <p:nvPr/>
        </p:nvCxnSpPr>
        <p:spPr>
          <a:xfrm>
            <a:off x="6457625" y="446828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42BB8DC-9C45-C44C-B275-7C6A83923306}"/>
              </a:ext>
            </a:extLst>
          </p:cNvPr>
          <p:cNvCxnSpPr>
            <a:cxnSpLocks/>
          </p:cNvCxnSpPr>
          <p:nvPr/>
        </p:nvCxnSpPr>
        <p:spPr>
          <a:xfrm>
            <a:off x="7382716" y="446828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24F7A4B-0D58-9B48-91A0-2970E4BC8863}"/>
              </a:ext>
            </a:extLst>
          </p:cNvPr>
          <p:cNvCxnSpPr>
            <a:cxnSpLocks/>
          </p:cNvCxnSpPr>
          <p:nvPr/>
        </p:nvCxnSpPr>
        <p:spPr>
          <a:xfrm>
            <a:off x="8307807" y="446828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672ECA4-3684-7C45-90E6-E87EB455BB1D}"/>
              </a:ext>
            </a:extLst>
          </p:cNvPr>
          <p:cNvCxnSpPr>
            <a:cxnSpLocks/>
          </p:cNvCxnSpPr>
          <p:nvPr/>
        </p:nvCxnSpPr>
        <p:spPr>
          <a:xfrm>
            <a:off x="9232899" y="4468286"/>
            <a:ext cx="711198" cy="0"/>
          </a:xfrm>
          <a:prstGeom prst="straightConnector1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302AB910-0A65-CE43-B44D-B37E61DDF6F3}"/>
              </a:ext>
            </a:extLst>
          </p:cNvPr>
          <p:cNvSpPr/>
          <p:nvPr/>
        </p:nvSpPr>
        <p:spPr>
          <a:xfrm>
            <a:off x="5730325" y="3833422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1A4CFFD-BFBF-3046-AAE7-FC5E98AF08B8}"/>
              </a:ext>
            </a:extLst>
          </p:cNvPr>
          <p:cNvSpPr/>
          <p:nvPr/>
        </p:nvSpPr>
        <p:spPr>
          <a:xfrm>
            <a:off x="7580507" y="3833423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1EB30BB-7855-DE40-916D-8EA1BE7A4DEB}"/>
              </a:ext>
            </a:extLst>
          </p:cNvPr>
          <p:cNvSpPr/>
          <p:nvPr/>
        </p:nvSpPr>
        <p:spPr>
          <a:xfrm>
            <a:off x="8505598" y="3833422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79D7E14-0063-EF40-BECC-F85A5C03EB74}"/>
              </a:ext>
            </a:extLst>
          </p:cNvPr>
          <p:cNvSpPr/>
          <p:nvPr/>
        </p:nvSpPr>
        <p:spPr>
          <a:xfrm>
            <a:off x="5007075" y="492189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C82D8-ED1B-2C44-A13B-CB83F95645F4}"/>
              </a:ext>
            </a:extLst>
          </p:cNvPr>
          <p:cNvSpPr/>
          <p:nvPr/>
        </p:nvSpPr>
        <p:spPr>
          <a:xfrm>
            <a:off x="4081983" y="492189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A63E181-A351-D640-A642-08552C0CFDC9}"/>
              </a:ext>
            </a:extLst>
          </p:cNvPr>
          <p:cNvSpPr/>
          <p:nvPr/>
        </p:nvSpPr>
        <p:spPr>
          <a:xfrm>
            <a:off x="7794401" y="492189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5C5DED6-DC2C-8744-B02D-941ECD5E73F0}"/>
              </a:ext>
            </a:extLst>
          </p:cNvPr>
          <p:cNvSpPr/>
          <p:nvPr/>
        </p:nvSpPr>
        <p:spPr>
          <a:xfrm>
            <a:off x="9644583" y="4921899"/>
            <a:ext cx="315616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</a:t>
            </a:r>
            <a:endParaRPr lang="en-US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A58C403-1924-0F4B-8A48-42006D24F3C8}"/>
              </a:ext>
            </a:extLst>
          </p:cNvPr>
          <p:cNvGrpSpPr/>
          <p:nvPr/>
        </p:nvGrpSpPr>
        <p:grpSpPr>
          <a:xfrm>
            <a:off x="2371668" y="2274257"/>
            <a:ext cx="711842" cy="714974"/>
            <a:chOff x="8440738" y="3248025"/>
            <a:chExt cx="360363" cy="361950"/>
          </a:xfrm>
          <a:solidFill>
            <a:schemeClr val="bg1"/>
          </a:solidFill>
        </p:grpSpPr>
        <p:sp>
          <p:nvSpPr>
            <p:cNvPr id="51" name="Freeform 192">
              <a:extLst>
                <a:ext uri="{FF2B5EF4-FFF2-40B4-BE49-F238E27FC236}">
                  <a16:creationId xmlns:a16="http://schemas.microsoft.com/office/drawing/2014/main" id="{17DF377C-E7AA-8D4C-8813-FE0503F3F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3489325"/>
              <a:ext cx="360363" cy="120650"/>
            </a:xfrm>
            <a:custGeom>
              <a:avLst/>
              <a:gdLst>
                <a:gd name="T0" fmla="*/ 94 w 96"/>
                <a:gd name="T1" fmla="*/ 28 h 32"/>
                <a:gd name="T2" fmla="*/ 88 w 96"/>
                <a:gd name="T3" fmla="*/ 28 h 32"/>
                <a:gd name="T4" fmla="*/ 88 w 96"/>
                <a:gd name="T5" fmla="*/ 4 h 32"/>
                <a:gd name="T6" fmla="*/ 94 w 96"/>
                <a:gd name="T7" fmla="*/ 4 h 32"/>
                <a:gd name="T8" fmla="*/ 96 w 96"/>
                <a:gd name="T9" fmla="*/ 2 h 32"/>
                <a:gd name="T10" fmla="*/ 94 w 96"/>
                <a:gd name="T11" fmla="*/ 0 h 32"/>
                <a:gd name="T12" fmla="*/ 2 w 96"/>
                <a:gd name="T13" fmla="*/ 0 h 32"/>
                <a:gd name="T14" fmla="*/ 0 w 96"/>
                <a:gd name="T15" fmla="*/ 2 h 32"/>
                <a:gd name="T16" fmla="*/ 2 w 96"/>
                <a:gd name="T17" fmla="*/ 4 h 32"/>
                <a:gd name="T18" fmla="*/ 8 w 96"/>
                <a:gd name="T19" fmla="*/ 4 h 32"/>
                <a:gd name="T20" fmla="*/ 8 w 96"/>
                <a:gd name="T21" fmla="*/ 28 h 32"/>
                <a:gd name="T22" fmla="*/ 2 w 96"/>
                <a:gd name="T23" fmla="*/ 28 h 32"/>
                <a:gd name="T24" fmla="*/ 0 w 96"/>
                <a:gd name="T25" fmla="*/ 30 h 32"/>
                <a:gd name="T26" fmla="*/ 2 w 96"/>
                <a:gd name="T27" fmla="*/ 32 h 32"/>
                <a:gd name="T28" fmla="*/ 94 w 96"/>
                <a:gd name="T29" fmla="*/ 32 h 32"/>
                <a:gd name="T30" fmla="*/ 96 w 96"/>
                <a:gd name="T31" fmla="*/ 30 h 32"/>
                <a:gd name="T32" fmla="*/ 94 w 96"/>
                <a:gd name="T33" fmla="*/ 28 h 32"/>
                <a:gd name="T34" fmla="*/ 26 w 96"/>
                <a:gd name="T35" fmla="*/ 20 h 32"/>
                <a:gd name="T36" fmla="*/ 24 w 96"/>
                <a:gd name="T37" fmla="*/ 22 h 32"/>
                <a:gd name="T38" fmla="*/ 22 w 96"/>
                <a:gd name="T39" fmla="*/ 20 h 32"/>
                <a:gd name="T40" fmla="*/ 22 w 96"/>
                <a:gd name="T41" fmla="*/ 10 h 32"/>
                <a:gd name="T42" fmla="*/ 24 w 96"/>
                <a:gd name="T43" fmla="*/ 8 h 32"/>
                <a:gd name="T44" fmla="*/ 26 w 96"/>
                <a:gd name="T45" fmla="*/ 10 h 32"/>
                <a:gd name="T46" fmla="*/ 26 w 96"/>
                <a:gd name="T47" fmla="*/ 20 h 32"/>
                <a:gd name="T48" fmla="*/ 42 w 96"/>
                <a:gd name="T49" fmla="*/ 20 h 32"/>
                <a:gd name="T50" fmla="*/ 40 w 96"/>
                <a:gd name="T51" fmla="*/ 22 h 32"/>
                <a:gd name="T52" fmla="*/ 38 w 96"/>
                <a:gd name="T53" fmla="*/ 20 h 32"/>
                <a:gd name="T54" fmla="*/ 38 w 96"/>
                <a:gd name="T55" fmla="*/ 10 h 32"/>
                <a:gd name="T56" fmla="*/ 40 w 96"/>
                <a:gd name="T57" fmla="*/ 8 h 32"/>
                <a:gd name="T58" fmla="*/ 42 w 96"/>
                <a:gd name="T59" fmla="*/ 10 h 32"/>
                <a:gd name="T60" fmla="*/ 42 w 96"/>
                <a:gd name="T61" fmla="*/ 20 h 32"/>
                <a:gd name="T62" fmla="*/ 58 w 96"/>
                <a:gd name="T63" fmla="*/ 20 h 32"/>
                <a:gd name="T64" fmla="*/ 56 w 96"/>
                <a:gd name="T65" fmla="*/ 22 h 32"/>
                <a:gd name="T66" fmla="*/ 54 w 96"/>
                <a:gd name="T67" fmla="*/ 20 h 32"/>
                <a:gd name="T68" fmla="*/ 54 w 96"/>
                <a:gd name="T69" fmla="*/ 10 h 32"/>
                <a:gd name="T70" fmla="*/ 56 w 96"/>
                <a:gd name="T71" fmla="*/ 8 h 32"/>
                <a:gd name="T72" fmla="*/ 58 w 96"/>
                <a:gd name="T73" fmla="*/ 10 h 32"/>
                <a:gd name="T74" fmla="*/ 58 w 96"/>
                <a:gd name="T75" fmla="*/ 20 h 32"/>
                <a:gd name="T76" fmla="*/ 74 w 96"/>
                <a:gd name="T77" fmla="*/ 20 h 32"/>
                <a:gd name="T78" fmla="*/ 72 w 96"/>
                <a:gd name="T79" fmla="*/ 22 h 32"/>
                <a:gd name="T80" fmla="*/ 70 w 96"/>
                <a:gd name="T81" fmla="*/ 20 h 32"/>
                <a:gd name="T82" fmla="*/ 70 w 96"/>
                <a:gd name="T83" fmla="*/ 10 h 32"/>
                <a:gd name="T84" fmla="*/ 72 w 96"/>
                <a:gd name="T85" fmla="*/ 8 h 32"/>
                <a:gd name="T86" fmla="*/ 74 w 96"/>
                <a:gd name="T87" fmla="*/ 10 h 32"/>
                <a:gd name="T88" fmla="*/ 74 w 96"/>
                <a:gd name="T89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6" h="32">
                  <a:moveTo>
                    <a:pt x="94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5" y="4"/>
                    <a:pt x="96" y="3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9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2"/>
                    <a:pt x="96" y="31"/>
                    <a:pt x="96" y="30"/>
                  </a:cubicBezTo>
                  <a:cubicBezTo>
                    <a:pt x="96" y="29"/>
                    <a:pt x="95" y="28"/>
                    <a:pt x="94" y="28"/>
                  </a:cubicBezTo>
                  <a:close/>
                  <a:moveTo>
                    <a:pt x="26" y="20"/>
                  </a:moveTo>
                  <a:cubicBezTo>
                    <a:pt x="26" y="21"/>
                    <a:pt x="25" y="22"/>
                    <a:pt x="24" y="22"/>
                  </a:cubicBezTo>
                  <a:cubicBezTo>
                    <a:pt x="23" y="22"/>
                    <a:pt x="22" y="21"/>
                    <a:pt x="22" y="2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3" y="8"/>
                    <a:pt x="24" y="8"/>
                  </a:cubicBezTo>
                  <a:cubicBezTo>
                    <a:pt x="25" y="8"/>
                    <a:pt x="26" y="9"/>
                    <a:pt x="26" y="10"/>
                  </a:cubicBezTo>
                  <a:lnTo>
                    <a:pt x="26" y="20"/>
                  </a:lnTo>
                  <a:close/>
                  <a:moveTo>
                    <a:pt x="42" y="20"/>
                  </a:moveTo>
                  <a:cubicBezTo>
                    <a:pt x="42" y="21"/>
                    <a:pt x="41" y="22"/>
                    <a:pt x="40" y="22"/>
                  </a:cubicBezTo>
                  <a:cubicBezTo>
                    <a:pt x="39" y="22"/>
                    <a:pt x="38" y="21"/>
                    <a:pt x="38" y="2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9"/>
                    <a:pt x="39" y="8"/>
                    <a:pt x="40" y="8"/>
                  </a:cubicBezTo>
                  <a:cubicBezTo>
                    <a:pt x="41" y="8"/>
                    <a:pt x="42" y="9"/>
                    <a:pt x="42" y="10"/>
                  </a:cubicBezTo>
                  <a:lnTo>
                    <a:pt x="42" y="20"/>
                  </a:lnTo>
                  <a:close/>
                  <a:moveTo>
                    <a:pt x="58" y="20"/>
                  </a:moveTo>
                  <a:cubicBezTo>
                    <a:pt x="58" y="21"/>
                    <a:pt x="57" y="22"/>
                    <a:pt x="56" y="22"/>
                  </a:cubicBezTo>
                  <a:cubicBezTo>
                    <a:pt x="55" y="22"/>
                    <a:pt x="54" y="21"/>
                    <a:pt x="54" y="2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9"/>
                    <a:pt x="55" y="8"/>
                    <a:pt x="56" y="8"/>
                  </a:cubicBezTo>
                  <a:cubicBezTo>
                    <a:pt x="57" y="8"/>
                    <a:pt x="58" y="9"/>
                    <a:pt x="58" y="10"/>
                  </a:cubicBezTo>
                  <a:lnTo>
                    <a:pt x="58" y="20"/>
                  </a:lnTo>
                  <a:close/>
                  <a:moveTo>
                    <a:pt x="74" y="20"/>
                  </a:moveTo>
                  <a:cubicBezTo>
                    <a:pt x="74" y="21"/>
                    <a:pt x="73" y="22"/>
                    <a:pt x="72" y="22"/>
                  </a:cubicBezTo>
                  <a:cubicBezTo>
                    <a:pt x="71" y="22"/>
                    <a:pt x="70" y="21"/>
                    <a:pt x="70" y="2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9"/>
                    <a:pt x="71" y="8"/>
                    <a:pt x="72" y="8"/>
                  </a:cubicBezTo>
                  <a:cubicBezTo>
                    <a:pt x="73" y="8"/>
                    <a:pt x="74" y="9"/>
                    <a:pt x="74" y="10"/>
                  </a:cubicBezTo>
                  <a:lnTo>
                    <a:pt x="7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93">
              <a:extLst>
                <a:ext uri="{FF2B5EF4-FFF2-40B4-BE49-F238E27FC236}">
                  <a16:creationId xmlns:a16="http://schemas.microsoft.com/office/drawing/2014/main" id="{52599A24-710E-6848-96FC-2B952876D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6463" y="3248025"/>
              <a:ext cx="187325" cy="120650"/>
            </a:xfrm>
            <a:custGeom>
              <a:avLst/>
              <a:gdLst>
                <a:gd name="T0" fmla="*/ 50 w 50"/>
                <a:gd name="T1" fmla="*/ 32 h 32"/>
                <a:gd name="T2" fmla="*/ 27 w 50"/>
                <a:gd name="T3" fmla="*/ 12 h 32"/>
                <a:gd name="T4" fmla="*/ 27 w 50"/>
                <a:gd name="T5" fmla="*/ 2 h 32"/>
                <a:gd name="T6" fmla="*/ 25 w 50"/>
                <a:gd name="T7" fmla="*/ 0 h 32"/>
                <a:gd name="T8" fmla="*/ 23 w 50"/>
                <a:gd name="T9" fmla="*/ 2 h 32"/>
                <a:gd name="T10" fmla="*/ 23 w 50"/>
                <a:gd name="T11" fmla="*/ 12 h 32"/>
                <a:gd name="T12" fmla="*/ 0 w 50"/>
                <a:gd name="T13" fmla="*/ 32 h 32"/>
                <a:gd name="T14" fmla="*/ 50 w 50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32">
                  <a:moveTo>
                    <a:pt x="50" y="32"/>
                  </a:moveTo>
                  <a:cubicBezTo>
                    <a:pt x="48" y="21"/>
                    <a:pt x="38" y="13"/>
                    <a:pt x="27" y="1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1"/>
                    <a:pt x="26" y="0"/>
                    <a:pt x="25" y="0"/>
                  </a:cubicBezTo>
                  <a:cubicBezTo>
                    <a:pt x="24" y="0"/>
                    <a:pt x="23" y="1"/>
                    <a:pt x="23" y="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2" y="13"/>
                    <a:pt x="2" y="21"/>
                    <a:pt x="0" y="32"/>
                  </a:cubicBezTo>
                  <a:lnTo>
                    <a:pt x="5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94">
              <a:extLst>
                <a:ext uri="{FF2B5EF4-FFF2-40B4-BE49-F238E27FC236}">
                  <a16:creationId xmlns:a16="http://schemas.microsoft.com/office/drawing/2014/main" id="{A7F59B1A-07AF-A841-8F6B-3DA1C8659B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5188" y="3384550"/>
              <a:ext cx="269875" cy="90488"/>
            </a:xfrm>
            <a:custGeom>
              <a:avLst/>
              <a:gdLst>
                <a:gd name="T0" fmla="*/ 2 w 72"/>
                <a:gd name="T1" fmla="*/ 4 h 24"/>
                <a:gd name="T2" fmla="*/ 12 w 72"/>
                <a:gd name="T3" fmla="*/ 4 h 24"/>
                <a:gd name="T4" fmla="*/ 12 w 72"/>
                <a:gd name="T5" fmla="*/ 24 h 24"/>
                <a:gd name="T6" fmla="*/ 60 w 72"/>
                <a:gd name="T7" fmla="*/ 24 h 24"/>
                <a:gd name="T8" fmla="*/ 60 w 72"/>
                <a:gd name="T9" fmla="*/ 4 h 24"/>
                <a:gd name="T10" fmla="*/ 70 w 72"/>
                <a:gd name="T11" fmla="*/ 4 h 24"/>
                <a:gd name="T12" fmla="*/ 72 w 72"/>
                <a:gd name="T13" fmla="*/ 2 h 24"/>
                <a:gd name="T14" fmla="*/ 70 w 72"/>
                <a:gd name="T15" fmla="*/ 0 h 24"/>
                <a:gd name="T16" fmla="*/ 68 w 72"/>
                <a:gd name="T17" fmla="*/ 0 h 24"/>
                <a:gd name="T18" fmla="*/ 2 w 72"/>
                <a:gd name="T19" fmla="*/ 0 h 24"/>
                <a:gd name="T20" fmla="*/ 0 w 72"/>
                <a:gd name="T21" fmla="*/ 2 h 24"/>
                <a:gd name="T22" fmla="*/ 2 w 72"/>
                <a:gd name="T23" fmla="*/ 4 h 24"/>
                <a:gd name="T24" fmla="*/ 42 w 72"/>
                <a:gd name="T25" fmla="*/ 8 h 24"/>
                <a:gd name="T26" fmla="*/ 44 w 72"/>
                <a:gd name="T27" fmla="*/ 6 h 24"/>
                <a:gd name="T28" fmla="*/ 46 w 72"/>
                <a:gd name="T29" fmla="*/ 8 h 24"/>
                <a:gd name="T30" fmla="*/ 46 w 72"/>
                <a:gd name="T31" fmla="*/ 18 h 24"/>
                <a:gd name="T32" fmla="*/ 44 w 72"/>
                <a:gd name="T33" fmla="*/ 20 h 24"/>
                <a:gd name="T34" fmla="*/ 42 w 72"/>
                <a:gd name="T35" fmla="*/ 18 h 24"/>
                <a:gd name="T36" fmla="*/ 42 w 72"/>
                <a:gd name="T37" fmla="*/ 8 h 24"/>
                <a:gd name="T38" fmla="*/ 26 w 72"/>
                <a:gd name="T39" fmla="*/ 8 h 24"/>
                <a:gd name="T40" fmla="*/ 28 w 72"/>
                <a:gd name="T41" fmla="*/ 6 h 24"/>
                <a:gd name="T42" fmla="*/ 30 w 72"/>
                <a:gd name="T43" fmla="*/ 8 h 24"/>
                <a:gd name="T44" fmla="*/ 30 w 72"/>
                <a:gd name="T45" fmla="*/ 18 h 24"/>
                <a:gd name="T46" fmla="*/ 28 w 72"/>
                <a:gd name="T47" fmla="*/ 20 h 24"/>
                <a:gd name="T48" fmla="*/ 26 w 72"/>
                <a:gd name="T49" fmla="*/ 18 h 24"/>
                <a:gd name="T50" fmla="*/ 26 w 72"/>
                <a:gd name="T5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2" h="24">
                  <a:moveTo>
                    <a:pt x="2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71" y="4"/>
                    <a:pt x="72" y="3"/>
                    <a:pt x="72" y="2"/>
                  </a:cubicBezTo>
                  <a:cubicBezTo>
                    <a:pt x="72" y="1"/>
                    <a:pt x="71" y="0"/>
                    <a:pt x="7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  <a:moveTo>
                    <a:pt x="42" y="8"/>
                  </a:moveTo>
                  <a:cubicBezTo>
                    <a:pt x="42" y="7"/>
                    <a:pt x="43" y="6"/>
                    <a:pt x="44" y="6"/>
                  </a:cubicBezTo>
                  <a:cubicBezTo>
                    <a:pt x="45" y="6"/>
                    <a:pt x="46" y="7"/>
                    <a:pt x="46" y="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9"/>
                    <a:pt x="45" y="20"/>
                    <a:pt x="44" y="20"/>
                  </a:cubicBezTo>
                  <a:cubicBezTo>
                    <a:pt x="43" y="20"/>
                    <a:pt x="42" y="19"/>
                    <a:pt x="42" y="18"/>
                  </a:cubicBezTo>
                  <a:lnTo>
                    <a:pt x="42" y="8"/>
                  </a:lnTo>
                  <a:close/>
                  <a:moveTo>
                    <a:pt x="26" y="8"/>
                  </a:moveTo>
                  <a:cubicBezTo>
                    <a:pt x="26" y="7"/>
                    <a:pt x="27" y="6"/>
                    <a:pt x="28" y="6"/>
                  </a:cubicBezTo>
                  <a:cubicBezTo>
                    <a:pt x="29" y="6"/>
                    <a:pt x="30" y="7"/>
                    <a:pt x="30" y="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ubicBezTo>
                    <a:pt x="27" y="20"/>
                    <a:pt x="26" y="19"/>
                    <a:pt x="26" y="18"/>
                  </a:cubicBezTo>
                  <a:lnTo>
                    <a:pt x="26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337939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SnMKZ06BjqZJPYSE_E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Quiz Color Pale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51D8"/>
      </a:accent1>
      <a:accent2>
        <a:srgbClr val="904BF1"/>
      </a:accent2>
      <a:accent3>
        <a:srgbClr val="5D35F1"/>
      </a:accent3>
      <a:accent4>
        <a:srgbClr val="0B9AF2"/>
      </a:accent4>
      <a:accent5>
        <a:srgbClr val="4BE2F2"/>
      </a:accent5>
      <a:accent6>
        <a:srgbClr val="FEFFF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3</TotalTime>
  <Words>659</Words>
  <Application>Microsoft Office PowerPoint</Application>
  <PresentationFormat>Widescreen</PresentationFormat>
  <Paragraphs>129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Consolas</vt:lpstr>
      <vt:lpstr>Georgia</vt:lpstr>
      <vt:lpstr>Segoe UI</vt:lpstr>
      <vt:lpstr>Segoe UI Light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2</dc:creator>
  <cp:lastModifiedBy>trisnawanugroho</cp:lastModifiedBy>
  <cp:revision>29</cp:revision>
  <dcterms:created xsi:type="dcterms:W3CDTF">2020-08-31T05:56:14Z</dcterms:created>
  <dcterms:modified xsi:type="dcterms:W3CDTF">2020-09-08T03:42:29Z</dcterms:modified>
</cp:coreProperties>
</file>